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6.xml" ContentType="application/vnd.openxmlformats-officedocument.presentationml.tags+xml"/>
  <Override PartName="/ppt/notesSlides/notesSlide1.xml" ContentType="application/vnd.openxmlformats-officedocument.presentationml.notesSlide+xml"/>
  <Override PartName="/ppt/tags/tag37.xml" ContentType="application/vnd.openxmlformats-officedocument.presentationml.tags+xml"/>
  <Override PartName="/ppt/notesSlides/notesSlide2.xml" ContentType="application/vnd.openxmlformats-officedocument.presentationml.notesSlide+xml"/>
  <Override PartName="/ppt/tags/tag38.xml" ContentType="application/vnd.openxmlformats-officedocument.presentationml.tags+xml"/>
  <Override PartName="/ppt/notesSlides/notesSlide3.xml" ContentType="application/vnd.openxmlformats-officedocument.presentationml.notesSlide+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notesSlides/notesSlide6.xml" ContentType="application/vnd.openxmlformats-officedocument.presentationml.notesSlide+xml"/>
  <Override PartName="/ppt/tags/tag42.xml" ContentType="application/vnd.openxmlformats-officedocument.presentationml.tags+xml"/>
  <Override PartName="/ppt/notesSlides/notesSlide7.xml" ContentType="application/vnd.openxmlformats-officedocument.presentationml.notesSlide+xml"/>
  <Override PartName="/ppt/tags/tag43.xml" ContentType="application/vnd.openxmlformats-officedocument.presentationml.tags+xml"/>
  <Override PartName="/ppt/notesSlides/notesSlide8.xml" ContentType="application/vnd.openxmlformats-officedocument.presentationml.notesSlide+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notesSlides/notesSlide10.xml" ContentType="application/vnd.openxmlformats-officedocument.presentationml.notesSlide+xml"/>
  <Override PartName="/ppt/tags/tag46.xml" ContentType="application/vnd.openxmlformats-officedocument.presentationml.tags+xml"/>
  <Override PartName="/ppt/notesSlides/notesSlide11.xml" ContentType="application/vnd.openxmlformats-officedocument.presentationml.notesSlide+xml"/>
  <Override PartName="/ppt/tags/tag47.xml" ContentType="application/vnd.openxmlformats-officedocument.presentationml.tags+xml"/>
  <Override PartName="/ppt/notesSlides/notesSlide1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8.xml" ContentType="application/vnd.openxmlformats-officedocument.presentationml.tags+xml"/>
  <Override PartName="/ppt/notesSlides/notesSlide13.xml" ContentType="application/vnd.openxmlformats-officedocument.presentationml.notesSlide+xml"/>
  <Override PartName="/ppt/tags/tag49.xml" ContentType="application/vnd.openxmlformats-officedocument.presentationml.tags+xml"/>
  <Override PartName="/ppt/notesSlides/notesSlide14.xml" ContentType="application/vnd.openxmlformats-officedocument.presentationml.notesSlide+xml"/>
  <Override PartName="/ppt/tags/tag50.xml" ContentType="application/vnd.openxmlformats-officedocument.presentationml.tags+xml"/>
  <Override PartName="/ppt/notesSlides/notesSlide15.xml" ContentType="application/vnd.openxmlformats-officedocument.presentationml.notesSlide+xml"/>
  <Override PartName="/ppt/tags/tag51.xml" ContentType="application/vnd.openxmlformats-officedocument.presentationml.tags+xml"/>
  <Override PartName="/ppt/notesSlides/notesSlide16.xml" ContentType="application/vnd.openxmlformats-officedocument.presentationml.notesSlide+xml"/>
  <Override PartName="/ppt/tags/tag52.xml" ContentType="application/vnd.openxmlformats-officedocument.presentationml.tags+xml"/>
  <Override PartName="/ppt/notesSlides/notesSlide17.xml" ContentType="application/vnd.openxmlformats-officedocument.presentationml.notesSlide+xml"/>
  <Override PartName="/ppt/tags/tag53.xml" ContentType="application/vnd.openxmlformats-officedocument.presentationml.tags+xml"/>
  <Override PartName="/ppt/notesSlides/notesSlide18.xml" ContentType="application/vnd.openxmlformats-officedocument.presentationml.notesSlide+xml"/>
  <Override PartName="/ppt/tags/tag54.xml" ContentType="application/vnd.openxmlformats-officedocument.presentationml.tags+xml"/>
  <Override PartName="/ppt/notesSlides/notesSlide19.xml" ContentType="application/vnd.openxmlformats-officedocument.presentationml.notesSlide+xml"/>
  <Override PartName="/ppt/tags/tag55.xml" ContentType="application/vnd.openxmlformats-officedocument.presentationml.tags+xml"/>
  <Override PartName="/ppt/notesSlides/notesSlide20.xml" ContentType="application/vnd.openxmlformats-officedocument.presentationml.notesSlide+xml"/>
  <Override PartName="/ppt/tags/tag56.xml" ContentType="application/vnd.openxmlformats-officedocument.presentationml.tags+xml"/>
  <Override PartName="/ppt/notesSlides/notesSlide21.xml" ContentType="application/vnd.openxmlformats-officedocument.presentationml.notesSlide+xml"/>
  <Override PartName="/ppt/tags/tag57.xml" ContentType="application/vnd.openxmlformats-officedocument.presentationml.tags+xml"/>
  <Override PartName="/ppt/notesSlides/notesSlide22.xml" ContentType="application/vnd.openxmlformats-officedocument.presentationml.notesSlide+xml"/>
  <Override PartName="/ppt/tags/tag58.xml" ContentType="application/vnd.openxmlformats-officedocument.presentationml.tags+xml"/>
  <Override PartName="/ppt/notesSlides/notesSlide23.xml" ContentType="application/vnd.openxmlformats-officedocument.presentationml.notesSlide+xml"/>
  <Override PartName="/ppt/tags/tag59.xml" ContentType="application/vnd.openxmlformats-officedocument.presentationml.tags+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60.xml" ContentType="application/vnd.openxmlformats-officedocument.presentationml.tags+xml"/>
  <Override PartName="/ppt/notesSlides/notesSlide25.xml" ContentType="application/vnd.openxmlformats-officedocument.presentationml.notesSlide+xml"/>
  <Override PartName="/ppt/tags/tag61.xml" ContentType="application/vnd.openxmlformats-officedocument.presentationml.tags+xml"/>
  <Override PartName="/ppt/notesSlides/notesSlide26.xml" ContentType="application/vnd.openxmlformats-officedocument.presentationml.notesSlide+xml"/>
  <Override PartName="/ppt/tags/tag62.xml" ContentType="application/vnd.openxmlformats-officedocument.presentationml.tags+xml"/>
  <Override PartName="/ppt/notesSlides/notesSlide27.xml" ContentType="application/vnd.openxmlformats-officedocument.presentationml.notesSlide+xml"/>
  <Override PartName="/ppt/tags/tag63.xml" ContentType="application/vnd.openxmlformats-officedocument.presentationml.tags+xml"/>
  <Override PartName="/ppt/notesSlides/notesSlide28.xml" ContentType="application/vnd.openxmlformats-officedocument.presentationml.notesSlide+xml"/>
  <Override PartName="/ppt/tags/tag64.xml" ContentType="application/vnd.openxmlformats-officedocument.presentationml.tags+xml"/>
  <Override PartName="/ppt/notesSlides/notesSlide29.xml" ContentType="application/vnd.openxmlformats-officedocument.presentationml.notesSlide+xml"/>
  <Override PartName="/ppt/tags/tag65.xml" ContentType="application/vnd.openxmlformats-officedocument.presentationml.tags+xml"/>
  <Override PartName="/ppt/notesSlides/notesSlide30.xml" ContentType="application/vnd.openxmlformats-officedocument.presentationml.notesSlide+xml"/>
  <Override PartName="/ppt/tags/tag66.xml" ContentType="application/vnd.openxmlformats-officedocument.presentationml.tags+xml"/>
  <Override PartName="/ppt/notesSlides/notesSlide3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67.xml" ContentType="application/vnd.openxmlformats-officedocument.presentationml.tags+xml"/>
  <Override PartName="/ppt/notesSlides/notesSlide32.xml" ContentType="application/vnd.openxmlformats-officedocument.presentationml.notesSlide+xml"/>
  <Override PartName="/ppt/tags/tag68.xml" ContentType="application/vnd.openxmlformats-officedocument.presentationml.tags+xml"/>
  <Override PartName="/ppt/notesSlides/notesSlide33.xml" ContentType="application/vnd.openxmlformats-officedocument.presentationml.notesSlide+xml"/>
  <Override PartName="/ppt/tags/tag69.xml" ContentType="application/vnd.openxmlformats-officedocument.presentationml.tags+xml"/>
  <Override PartName="/ppt/notesSlides/notesSlide34.xml" ContentType="application/vnd.openxmlformats-officedocument.presentationml.notesSlide+xml"/>
  <Override PartName="/ppt/tags/tag70.xml" ContentType="application/vnd.openxmlformats-officedocument.presentationml.tags+xml"/>
  <Override PartName="/ppt/notesSlides/notesSlide35.xml" ContentType="application/vnd.openxmlformats-officedocument.presentationml.notesSlide+xml"/>
  <Override PartName="/ppt/tags/tag71.xml" ContentType="application/vnd.openxmlformats-officedocument.presentationml.tags+xml"/>
  <Override PartName="/ppt/notesSlides/notesSlide36.xml" ContentType="application/vnd.openxmlformats-officedocument.presentationml.notesSlide+xml"/>
  <Override PartName="/ppt/tags/tag72.xml" ContentType="application/vnd.openxmlformats-officedocument.presentationml.tags+xml"/>
  <Override PartName="/ppt/notesSlides/notesSlide37.xml" ContentType="application/vnd.openxmlformats-officedocument.presentationml.notesSlide+xml"/>
  <Override PartName="/ppt/tags/tag73.xml" ContentType="application/vnd.openxmlformats-officedocument.presentationml.tags+xml"/>
  <Override PartName="/ppt/notesSlides/notesSlide38.xml" ContentType="application/vnd.openxmlformats-officedocument.presentationml.notesSlide+xml"/>
  <Override PartName="/ppt/tags/tag74.xml" ContentType="application/vnd.openxmlformats-officedocument.presentationml.tags+xml"/>
  <Override PartName="/ppt/notesSlides/notesSlide39.xml" ContentType="application/vnd.openxmlformats-officedocument.presentationml.notesSlide+xml"/>
  <Override PartName="/ppt/tags/tag75.xml" ContentType="application/vnd.openxmlformats-officedocument.presentationml.tags+xml"/>
  <Override PartName="/ppt/notesSlides/notesSlide40.xml" ContentType="application/vnd.openxmlformats-officedocument.presentationml.notesSlide+xml"/>
  <Override PartName="/ppt/tags/tag76.xml" ContentType="application/vnd.openxmlformats-officedocument.presentationml.tags+xml"/>
  <Override PartName="/ppt/notesSlides/notesSlide41.xml" ContentType="application/vnd.openxmlformats-officedocument.presentationml.notesSlide+xml"/>
  <Override PartName="/ppt/tags/tag77.xml" ContentType="application/vnd.openxmlformats-officedocument.presentationml.tags+xml"/>
  <Override PartName="/ppt/notesSlides/notesSlide42.xml" ContentType="application/vnd.openxmlformats-officedocument.presentationml.notesSlide+xml"/>
  <Override PartName="/ppt/tags/tag78.xml" ContentType="application/vnd.openxmlformats-officedocument.presentationml.tags+xml"/>
  <Override PartName="/ppt/notesSlides/notesSlide43.xml" ContentType="application/vnd.openxmlformats-officedocument.presentationml.notesSlide+xml"/>
  <Override PartName="/ppt/tags/tag79.xml" ContentType="application/vnd.openxmlformats-officedocument.presentationml.tags+xml"/>
  <Override PartName="/ppt/notesSlides/notesSlide44.xml" ContentType="application/vnd.openxmlformats-officedocument.presentationml.notesSlide+xml"/>
  <Override PartName="/ppt/tags/tag80.xml" ContentType="application/vnd.openxmlformats-officedocument.presentationml.tags+xml"/>
  <Override PartName="/ppt/notesSlides/notesSlide4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81.xml" ContentType="application/vnd.openxmlformats-officedocument.presentationml.tags+xml"/>
  <Override PartName="/ppt/notesSlides/notesSlide46.xml" ContentType="application/vnd.openxmlformats-officedocument.presentationml.notesSlide+xml"/>
  <Override PartName="/ppt/tags/tag82.xml" ContentType="application/vnd.openxmlformats-officedocument.presentationml.tags+xml"/>
  <Override PartName="/ppt/notesSlides/notesSlide47.xml" ContentType="application/vnd.openxmlformats-officedocument.presentationml.notesSlide+xml"/>
  <Override PartName="/ppt/tags/tag83.xml" ContentType="application/vnd.openxmlformats-officedocument.presentationml.tags+xml"/>
  <Override PartName="/ppt/notesSlides/notesSlide48.xml" ContentType="application/vnd.openxmlformats-officedocument.presentationml.notesSlide+xml"/>
  <Override PartName="/ppt/tags/tag84.xml" ContentType="application/vnd.openxmlformats-officedocument.presentationml.tags+xml"/>
  <Override PartName="/ppt/notesSlides/notesSlide49.xml" ContentType="application/vnd.openxmlformats-officedocument.presentationml.notesSlide+xml"/>
  <Override PartName="/ppt/tags/tag85.xml" ContentType="application/vnd.openxmlformats-officedocument.presentationml.tags+xml"/>
  <Override PartName="/ppt/notesSlides/notesSlide50.xml" ContentType="application/vnd.openxmlformats-officedocument.presentationml.notesSlide+xml"/>
  <Override PartName="/ppt/tags/tag86.xml" ContentType="application/vnd.openxmlformats-officedocument.presentationml.tags+xml"/>
  <Override PartName="/ppt/notesSlides/notesSlide51.xml" ContentType="application/vnd.openxmlformats-officedocument.presentationml.notesSlide+xml"/>
  <Override PartName="/ppt/tags/tag87.xml" ContentType="application/vnd.openxmlformats-officedocument.presentationml.tags+xml"/>
  <Override PartName="/ppt/notesSlides/notesSlide52.xml" ContentType="application/vnd.openxmlformats-officedocument.presentationml.notesSlide+xml"/>
  <Override PartName="/ppt/tags/tag88.xml" ContentType="application/vnd.openxmlformats-officedocument.presentationml.tags+xml"/>
  <Override PartName="/ppt/notesSlides/notesSlide53.xml" ContentType="application/vnd.openxmlformats-officedocument.presentationml.notesSlide+xml"/>
  <Override PartName="/ppt/tags/tag89.xml" ContentType="application/vnd.openxmlformats-officedocument.presentationml.tags+xml"/>
  <Override PartName="/ppt/notesSlides/notesSlide54.xml" ContentType="application/vnd.openxmlformats-officedocument.presentationml.notesSlide+xml"/>
  <Override PartName="/ppt/tags/tag90.xml" ContentType="application/vnd.openxmlformats-officedocument.presentationml.tags+xml"/>
  <Override PartName="/ppt/notesSlides/notesSlide55.xml" ContentType="application/vnd.openxmlformats-officedocument.presentationml.notesSlide+xml"/>
  <Override PartName="/ppt/tags/tag91.xml" ContentType="application/vnd.openxmlformats-officedocument.presentationml.tags+xml"/>
  <Override PartName="/ppt/notesSlides/notesSlide56.xml" ContentType="application/vnd.openxmlformats-officedocument.presentationml.notesSlide+xml"/>
  <Override PartName="/ppt/tags/tag92.xml" ContentType="application/vnd.openxmlformats-officedocument.presentationml.tags+xml"/>
  <Override PartName="/ppt/notesSlides/notesSlide57.xml" ContentType="application/vnd.openxmlformats-officedocument.presentationml.notesSlide+xml"/>
  <Override PartName="/ppt/tags/tag93.xml" ContentType="application/vnd.openxmlformats-officedocument.presentationml.tags+xml"/>
  <Override PartName="/ppt/notesSlides/notesSlide58.xml" ContentType="application/vnd.openxmlformats-officedocument.presentationml.notesSlide+xml"/>
  <Override PartName="/ppt/tags/tag94.xml" ContentType="application/vnd.openxmlformats-officedocument.presentationml.tags+xml"/>
  <Override PartName="/ppt/notesSlides/notesSlide59.xml" ContentType="application/vnd.openxmlformats-officedocument.presentationml.notesSlide+xml"/>
  <Override PartName="/ppt/tags/tag95.xml" ContentType="application/vnd.openxmlformats-officedocument.presentationml.tags+xml"/>
  <Override PartName="/ppt/notesSlides/notesSlide60.xml" ContentType="application/vnd.openxmlformats-officedocument.presentationml.notesSlide+xml"/>
  <Override PartName="/ppt/tags/tag96.xml" ContentType="application/vnd.openxmlformats-officedocument.presentationml.tags+xml"/>
  <Override PartName="/ppt/notesSlides/notesSlide61.xml" ContentType="application/vnd.openxmlformats-officedocument.presentationml.notesSlide+xml"/>
  <Override PartName="/ppt/tags/tag97.xml" ContentType="application/vnd.openxmlformats-officedocument.presentationml.tags+xml"/>
  <Override PartName="/ppt/notesSlides/notesSlide62.xml" ContentType="application/vnd.openxmlformats-officedocument.presentationml.notesSlide+xml"/>
  <Override PartName="/ppt/tags/tag98.xml" ContentType="application/vnd.openxmlformats-officedocument.presentationml.tags+xml"/>
  <Override PartName="/ppt/notesSlides/notesSlide63.xml" ContentType="application/vnd.openxmlformats-officedocument.presentationml.notesSlide+xml"/>
  <Override PartName="/ppt/tags/tag99.xml" ContentType="application/vnd.openxmlformats-officedocument.presentationml.tags+xml"/>
  <Override PartName="/ppt/notesSlides/notesSlide64.xml" ContentType="application/vnd.openxmlformats-officedocument.presentationml.notesSlide+xml"/>
  <Override PartName="/ppt/tags/tag100.xml" ContentType="application/vnd.openxmlformats-officedocument.presentationml.tags+xml"/>
  <Override PartName="/ppt/notesSlides/notesSlide65.xml" ContentType="application/vnd.openxmlformats-officedocument.presentationml.notesSlide+xml"/>
  <Override PartName="/ppt/tags/tag101.xml" ContentType="application/vnd.openxmlformats-officedocument.presentationml.tags+xml"/>
  <Override PartName="/ppt/notesSlides/notesSlide66.xml" ContentType="application/vnd.openxmlformats-officedocument.presentationml.notesSlide+xml"/>
  <Override PartName="/ppt/tags/tag102.xml" ContentType="application/vnd.openxmlformats-officedocument.presentationml.tags+xml"/>
  <Override PartName="/ppt/notesSlides/notesSlide67.xml" ContentType="application/vnd.openxmlformats-officedocument.presentationml.notesSlide+xml"/>
  <Override PartName="/ppt/tags/tag103.xml" ContentType="application/vnd.openxmlformats-officedocument.presentationml.tags+xml"/>
  <Override PartName="/ppt/notesSlides/notesSlide68.xml" ContentType="application/vnd.openxmlformats-officedocument.presentationml.notesSlide+xml"/>
  <Override PartName="/ppt/tags/tag104.xml" ContentType="application/vnd.openxmlformats-officedocument.presentationml.tags+xml"/>
  <Override PartName="/ppt/notesSlides/notesSlide69.xml" ContentType="application/vnd.openxmlformats-officedocument.presentationml.notesSlide+xml"/>
  <Override PartName="/ppt/tags/tag105.xml" ContentType="application/vnd.openxmlformats-officedocument.presentationml.tags+xml"/>
  <Override PartName="/ppt/notesSlides/notesSlide70.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71.xml" ContentType="application/vnd.openxmlformats-officedocument.presentationml.notesSlide+xml"/>
  <Override PartName="/ppt/tags/tag109.xml" ContentType="application/vnd.openxmlformats-officedocument.presentationml.tags+xml"/>
  <Override PartName="/ppt/notesSlides/notesSlide72.xml" ContentType="application/vnd.openxmlformats-officedocument.presentationml.notesSlide+xml"/>
  <Override PartName="/ppt/tags/tag110.xml" ContentType="application/vnd.openxmlformats-officedocument.presentationml.tags+xml"/>
  <Override PartName="/ppt/notesSlides/notesSlide73.xml" ContentType="application/vnd.openxmlformats-officedocument.presentationml.notesSlide+xml"/>
  <Override PartName="/ppt/tags/tag111.xml" ContentType="application/vnd.openxmlformats-officedocument.presentationml.tags+xml"/>
  <Override PartName="/ppt/notesSlides/notesSlide74.xml" ContentType="application/vnd.openxmlformats-officedocument.presentationml.notesSlide+xml"/>
  <Override PartName="/ppt/tags/tag112.xml" ContentType="application/vnd.openxmlformats-officedocument.presentationml.tags+xml"/>
  <Override PartName="/ppt/notesSlides/notesSlide75.xml" ContentType="application/vnd.openxmlformats-officedocument.presentationml.notesSlide+xml"/>
  <Override PartName="/ppt/tags/tag113.xml" ContentType="application/vnd.openxmlformats-officedocument.presentationml.tags+xml"/>
  <Override PartName="/ppt/notesSlides/notesSlide76.xml" ContentType="application/vnd.openxmlformats-officedocument.presentationml.notesSlide+xml"/>
  <Override PartName="/ppt/tags/tag114.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79.xml" ContentType="application/vnd.openxmlformats-officedocument.presentationml.notesSlide+xml"/>
  <Override PartName="/ppt/tags/tag117.xml" ContentType="application/vnd.openxmlformats-officedocument.presentationml.tags+xml"/>
  <Override PartName="/ppt/notesSlides/notesSlide80.xml" ContentType="application/vnd.openxmlformats-officedocument.presentationml.notesSlide+xml"/>
  <Override PartName="/ppt/tags/tag118.xml" ContentType="application/vnd.openxmlformats-officedocument.presentationml.tags+xml"/>
  <Override PartName="/ppt/notesSlides/notesSlide81.xml" ContentType="application/vnd.openxmlformats-officedocument.presentationml.notesSlide+xml"/>
  <Override PartName="/ppt/tags/tag119.xml" ContentType="application/vnd.openxmlformats-officedocument.presentationml.tags+xml"/>
  <Override PartName="/ppt/notesSlides/notesSlide82.xml" ContentType="application/vnd.openxmlformats-officedocument.presentationml.notesSlide+xml"/>
  <Override PartName="/ppt/tags/tag120.xml" ContentType="application/vnd.openxmlformats-officedocument.presentationml.tags+xml"/>
  <Override PartName="/ppt/notesSlides/notesSlide83.xml" ContentType="application/vnd.openxmlformats-officedocument.presentationml.notesSlide+xml"/>
  <Override PartName="/ppt/tags/tag121.xml" ContentType="application/vnd.openxmlformats-officedocument.presentationml.tags+xml"/>
  <Override PartName="/ppt/notesSlides/notesSlide84.xml" ContentType="application/vnd.openxmlformats-officedocument.presentationml.notesSlide+xml"/>
  <Override PartName="/ppt/tags/tag122.xml" ContentType="application/vnd.openxmlformats-officedocument.presentationml.tags+xml"/>
  <Override PartName="/ppt/notesSlides/notesSlide8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Lst>
  <p:notesMasterIdLst>
    <p:notesMasterId r:id="rId92"/>
  </p:notesMasterIdLst>
  <p:handoutMasterIdLst>
    <p:handoutMasterId r:id="rId93"/>
  </p:handoutMasterIdLst>
  <p:sldIdLst>
    <p:sldId id="320" r:id="rId2"/>
    <p:sldId id="318" r:id="rId3"/>
    <p:sldId id="323" r:id="rId4"/>
    <p:sldId id="291" r:id="rId5"/>
    <p:sldId id="256" r:id="rId6"/>
    <p:sldId id="298" r:id="rId7"/>
    <p:sldId id="332" r:id="rId8"/>
    <p:sldId id="333" r:id="rId9"/>
    <p:sldId id="335" r:id="rId10"/>
    <p:sldId id="378" r:id="rId11"/>
    <p:sldId id="380" r:id="rId12"/>
    <p:sldId id="373" r:id="rId13"/>
    <p:sldId id="257" r:id="rId14"/>
    <p:sldId id="300" r:id="rId15"/>
    <p:sldId id="321" r:id="rId16"/>
    <p:sldId id="337" r:id="rId17"/>
    <p:sldId id="338" r:id="rId18"/>
    <p:sldId id="301" r:id="rId19"/>
    <p:sldId id="302" r:id="rId20"/>
    <p:sldId id="260" r:id="rId21"/>
    <p:sldId id="319" r:id="rId22"/>
    <p:sldId id="303" r:id="rId23"/>
    <p:sldId id="259" r:id="rId24"/>
    <p:sldId id="372" r:id="rId25"/>
    <p:sldId id="268" r:id="rId26"/>
    <p:sldId id="305" r:id="rId27"/>
    <p:sldId id="306" r:id="rId28"/>
    <p:sldId id="311" r:id="rId29"/>
    <p:sldId id="307" r:id="rId30"/>
    <p:sldId id="312" r:id="rId31"/>
    <p:sldId id="314" r:id="rId32"/>
    <p:sldId id="326" r:id="rId33"/>
    <p:sldId id="328" r:id="rId34"/>
    <p:sldId id="327" r:id="rId35"/>
    <p:sldId id="273" r:id="rId36"/>
    <p:sldId id="368" r:id="rId37"/>
    <p:sldId id="271" r:id="rId38"/>
    <p:sldId id="369" r:id="rId39"/>
    <p:sldId id="370" r:id="rId40"/>
    <p:sldId id="375" r:id="rId41"/>
    <p:sldId id="384" r:id="rId42"/>
    <p:sldId id="315" r:id="rId43"/>
    <p:sldId id="283" r:id="rId44"/>
    <p:sldId id="290" r:id="rId45"/>
    <p:sldId id="339" r:id="rId46"/>
    <p:sldId id="374" r:id="rId47"/>
    <p:sldId id="340" r:id="rId48"/>
    <p:sldId id="341" r:id="rId49"/>
    <p:sldId id="342" r:id="rId50"/>
    <p:sldId id="344" r:id="rId51"/>
    <p:sldId id="343" r:id="rId52"/>
    <p:sldId id="345" r:id="rId53"/>
    <p:sldId id="346" r:id="rId54"/>
    <p:sldId id="347" r:id="rId55"/>
    <p:sldId id="348" r:id="rId56"/>
    <p:sldId id="349" r:id="rId57"/>
    <p:sldId id="350" r:id="rId58"/>
    <p:sldId id="351" r:id="rId59"/>
    <p:sldId id="285" r:id="rId60"/>
    <p:sldId id="288" r:id="rId61"/>
    <p:sldId id="284" r:id="rId62"/>
    <p:sldId id="293" r:id="rId63"/>
    <p:sldId id="296" r:id="rId64"/>
    <p:sldId id="262" r:id="rId65"/>
    <p:sldId id="266" r:id="rId66"/>
    <p:sldId id="352" r:id="rId67"/>
    <p:sldId id="353" r:id="rId68"/>
    <p:sldId id="361" r:id="rId69"/>
    <p:sldId id="294" r:id="rId70"/>
    <p:sldId id="385" r:id="rId71"/>
    <p:sldId id="386" r:id="rId72"/>
    <p:sldId id="381" r:id="rId73"/>
    <p:sldId id="383" r:id="rId74"/>
    <p:sldId id="331" r:id="rId75"/>
    <p:sldId id="278" r:id="rId76"/>
    <p:sldId id="365" r:id="rId77"/>
    <p:sldId id="366" r:id="rId78"/>
    <p:sldId id="364" r:id="rId79"/>
    <p:sldId id="270" r:id="rId80"/>
    <p:sldId id="267" r:id="rId81"/>
    <p:sldId id="379" r:id="rId82"/>
    <p:sldId id="387" r:id="rId83"/>
    <p:sldId id="272" r:id="rId84"/>
    <p:sldId id="391" r:id="rId85"/>
    <p:sldId id="390" r:id="rId86"/>
    <p:sldId id="276" r:id="rId87"/>
    <p:sldId id="388" r:id="rId88"/>
    <p:sldId id="275" r:id="rId89"/>
    <p:sldId id="282" r:id="rId90"/>
    <p:sldId id="297" r:id="rId91"/>
  </p:sldIdLst>
  <p:sldSz cx="12192000" cy="6858000"/>
  <p:notesSz cx="6858000" cy="9144000"/>
  <p:embeddedFontLst>
    <p:embeddedFont>
      <p:font typeface="맑은 고딕" panose="020B0503020000020004" pitchFamily="34" charset="-127"/>
      <p:regular r:id="rId94"/>
      <p:bold r:id="rId95"/>
    </p:embeddedFont>
    <p:embeddedFont>
      <p:font typeface="Calibri" panose="020F0502020204030204" pitchFamily="34" charset="0"/>
      <p:regular r:id="rId96"/>
      <p:bold r:id="rId97"/>
      <p:italic r:id="rId98"/>
      <p:boldItalic r:id="rId99"/>
    </p:embeddedFont>
    <p:embeddedFont>
      <p:font typeface="Dubai" panose="020B0503030403030204" pitchFamily="34" charset="-78"/>
      <p:regular r:id="rId100"/>
      <p:bold r:id="rId101"/>
    </p:embeddedFont>
    <p:embeddedFont>
      <p:font typeface="Georgia" panose="02040502050405020303" pitchFamily="18" charset="0"/>
      <p:regular r:id="rId102"/>
      <p:bold r:id="rId103"/>
      <p:italic r:id="rId104"/>
      <p:boldItalic r:id="rId105"/>
    </p:embeddedFont>
    <p:embeddedFont>
      <p:font typeface="Montserrat Light" panose="020F0302020204030204" pitchFamily="34" charset="0"/>
      <p:regular r:id="rId106"/>
      <p:italic r:id="rId107"/>
    </p:embeddedFont>
    <p:embeddedFont>
      <p:font typeface="Montserrat Medium" panose="020F0502020204030204" pitchFamily="34" charset="0"/>
      <p:regular r:id="rId108"/>
      <p:italic r:id="rId109"/>
    </p:embeddedFont>
  </p:embeddedFontLst>
  <p:custDataLst>
    <p:tags r:id="rId110"/>
  </p:custDataLst>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40" userDrawn="1">
          <p15:clr>
            <a:srgbClr val="A4A3A4"/>
          </p15:clr>
        </p15:guide>
        <p15:guide id="3"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62525"/>
    <a:srgbClr val="DDDDDD"/>
    <a:srgbClr val="252525"/>
    <a:srgbClr val="FCD304"/>
    <a:srgbClr val="FCCF12"/>
    <a:srgbClr val="342EFF"/>
    <a:srgbClr val="5AFB5A"/>
    <a:srgbClr val="2B2D78"/>
    <a:srgbClr val="44C79F"/>
    <a:srgbClr val="27272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스타일 없음, 눈금 없음">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701" autoAdjust="0"/>
    <p:restoredTop sz="88988"/>
  </p:normalViewPr>
  <p:slideViewPr>
    <p:cSldViewPr snapToGrid="0" showGuides="1">
      <p:cViewPr varScale="1">
        <p:scale>
          <a:sx n="148" d="100"/>
          <a:sy n="148" d="100"/>
        </p:scale>
        <p:origin x="1160" y="200"/>
      </p:cViewPr>
      <p:guideLst>
        <p:guide pos="3840"/>
        <p:guide orient="horz" pos="2160"/>
      </p:guideLst>
    </p:cSldViewPr>
  </p:slideViewPr>
  <p:outlineViewPr>
    <p:cViewPr>
      <p:scale>
        <a:sx n="33" d="100"/>
        <a:sy n="33" d="100"/>
      </p:scale>
      <p:origin x="0" y="0"/>
    </p:cViewPr>
  </p:outlineViewPr>
  <p:notesTextViewPr>
    <p:cViewPr>
      <p:scale>
        <a:sx n="70" d="100"/>
        <a:sy n="70" d="100"/>
      </p:scale>
      <p:origin x="0" y="0"/>
    </p:cViewPr>
  </p:notesTextViewPr>
  <p:sorterViewPr>
    <p:cViewPr varScale="1">
      <p:scale>
        <a:sx n="121" d="100"/>
        <a:sy n="121" d="100"/>
      </p:scale>
      <p:origin x="0" y="0"/>
    </p:cViewPr>
  </p:sorterViewPr>
  <p:notesViewPr>
    <p:cSldViewPr snapToGrid="0" showGuides="1">
      <p:cViewPr varScale="1">
        <p:scale>
          <a:sx n="126" d="100"/>
          <a:sy n="126" d="100"/>
        </p:scale>
        <p:origin x="3264" y="21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viewProps" Target="viewProps.xml"/><Relationship Id="rId16" Type="http://schemas.openxmlformats.org/officeDocument/2006/relationships/slide" Target="slides/slide15.xml"/><Relationship Id="rId107" Type="http://schemas.openxmlformats.org/officeDocument/2006/relationships/font" Target="fonts/font14.fntdata"/><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font" Target="fonts/font9.fntdata"/><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font" Target="fonts/font2.fntdata"/><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theme" Target="theme/theme1.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font" Target="fonts/font10.fntdata"/><Relationship Id="rId108" Type="http://schemas.openxmlformats.org/officeDocument/2006/relationships/font" Target="fonts/font15.fntdata"/><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font" Target="fonts/font3.fntdata"/><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font" Target="fonts/font13.fntdata"/><Relationship Id="rId114" Type="http://schemas.openxmlformats.org/officeDocument/2006/relationships/tableStyles" Target="tableStyles.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font" Target="fonts/font1.fntdata"/><Relationship Id="rId99" Type="http://schemas.openxmlformats.org/officeDocument/2006/relationships/font" Target="fonts/font6.fntdata"/><Relationship Id="rId10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font" Target="fonts/font16.fntdata"/><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font" Target="fonts/font4.fntdata"/><Relationship Id="rId104" Type="http://schemas.openxmlformats.org/officeDocument/2006/relationships/font" Target="fonts/font11.fntdata"/><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notesMaster" Target="notesMasters/notesMaster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tags" Target="tags/tag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font" Target="fonts/font7.fntdata"/><Relationship Id="rId105" Type="http://schemas.openxmlformats.org/officeDocument/2006/relationships/font" Target="fonts/font12.fntdata"/><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handoutMaster" Target="handoutMasters/handoutMaster1.xml"/><Relationship Id="rId98" Type="http://schemas.openxmlformats.org/officeDocument/2006/relationships/font" Target="fonts/font5.fntdata"/><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09</c:v>
                </c:pt>
              </c:strCache>
            </c:strRef>
          </c:tx>
          <c:spPr>
            <a:solidFill>
              <a:schemeClr val="accent1">
                <a:alpha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SA"/>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raffic</c:v>
                </c:pt>
              </c:strCache>
            </c:strRef>
          </c:cat>
          <c:val>
            <c:numRef>
              <c:f>Sheet1!$B$2</c:f>
              <c:numCache>
                <c:formatCode>General</c:formatCode>
                <c:ptCount val="1"/>
                <c:pt idx="0">
                  <c:v>1.3</c:v>
                </c:pt>
              </c:numCache>
            </c:numRef>
          </c:val>
          <c:extLst>
            <c:ext xmlns:c16="http://schemas.microsoft.com/office/drawing/2014/chart" uri="{C3380CC4-5D6E-409C-BE32-E72D297353CC}">
              <c16:uniqueId val="{00000000-74F1-4278-9547-A323C96A58EC}"/>
            </c:ext>
          </c:extLst>
        </c:ser>
        <c:ser>
          <c:idx val="1"/>
          <c:order val="1"/>
          <c:tx>
            <c:strRef>
              <c:f>Sheet1!$C$1</c:f>
              <c:strCache>
                <c:ptCount val="1"/>
                <c:pt idx="0">
                  <c:v>2014</c:v>
                </c:pt>
              </c:strCache>
            </c:strRef>
          </c:tx>
          <c:spPr>
            <a:solidFill>
              <a:schemeClr val="accent2">
                <a:alpha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SA"/>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raffic</c:v>
                </c:pt>
              </c:strCache>
            </c:strRef>
          </c:cat>
          <c:val>
            <c:numRef>
              <c:f>Sheet1!$C$2</c:f>
              <c:numCache>
                <c:formatCode>General</c:formatCode>
                <c:ptCount val="1"/>
                <c:pt idx="0">
                  <c:v>26</c:v>
                </c:pt>
              </c:numCache>
            </c:numRef>
          </c:val>
          <c:extLst>
            <c:ext xmlns:c16="http://schemas.microsoft.com/office/drawing/2014/chart" uri="{C3380CC4-5D6E-409C-BE32-E72D297353CC}">
              <c16:uniqueId val="{00000001-74F1-4278-9547-A323C96A58EC}"/>
            </c:ext>
          </c:extLst>
        </c:ser>
        <c:ser>
          <c:idx val="2"/>
          <c:order val="2"/>
          <c:tx>
            <c:strRef>
              <c:f>Sheet1!$D$1</c:f>
              <c:strCache>
                <c:ptCount val="1"/>
                <c:pt idx="0">
                  <c:v>2019</c:v>
                </c:pt>
              </c:strCache>
            </c:strRef>
          </c:tx>
          <c:spPr>
            <a:solidFill>
              <a:schemeClr val="accent3">
                <a:alpha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SA"/>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raffic</c:v>
                </c:pt>
              </c:strCache>
            </c:strRef>
          </c:cat>
          <c:val>
            <c:numRef>
              <c:f>Sheet1!$D$2</c:f>
              <c:numCache>
                <c:formatCode>General</c:formatCode>
                <c:ptCount val="1"/>
                <c:pt idx="0">
                  <c:v>48</c:v>
                </c:pt>
              </c:numCache>
            </c:numRef>
          </c:val>
          <c:extLst>
            <c:ext xmlns:c16="http://schemas.microsoft.com/office/drawing/2014/chart" uri="{C3380CC4-5D6E-409C-BE32-E72D297353CC}">
              <c16:uniqueId val="{00000002-74F1-4278-9547-A323C96A58EC}"/>
            </c:ext>
          </c:extLst>
        </c:ser>
        <c:ser>
          <c:idx val="3"/>
          <c:order val="3"/>
          <c:tx>
            <c:strRef>
              <c:f>Sheet1!$E$1</c:f>
              <c:strCache>
                <c:ptCount val="1"/>
                <c:pt idx="0">
                  <c:v>Today</c:v>
                </c:pt>
              </c:strCache>
            </c:strRef>
          </c:tx>
          <c:spPr>
            <a:gradFill flip="none" rotWithShape="1">
              <a:gsLst>
                <a:gs pos="0">
                  <a:srgbClr val="B34768">
                    <a:alpha val="40000"/>
                  </a:srgbClr>
                </a:gs>
                <a:gs pos="100000">
                  <a:srgbClr val="3E8E86">
                    <a:alpha val="65000"/>
                  </a:srgbClr>
                </a:gs>
                <a:gs pos="51000">
                  <a:srgbClr val="2B2D78">
                    <a:alpha val="50000"/>
                  </a:srgbClr>
                </a:gs>
              </a:gsLst>
              <a:lin ang="5400000" scaled="1"/>
              <a:tileRect/>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bg1"/>
                    </a:solidFill>
                    <a:latin typeface="+mn-lt"/>
                    <a:ea typeface="+mn-ea"/>
                    <a:cs typeface="+mn-cs"/>
                  </a:defRPr>
                </a:pPr>
                <a:endParaRPr lang="en-SA"/>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raffic</c:v>
                </c:pt>
              </c:strCache>
            </c:strRef>
          </c:cat>
          <c:val>
            <c:numRef>
              <c:f>Sheet1!$E$2</c:f>
              <c:numCache>
                <c:formatCode>General</c:formatCode>
                <c:ptCount val="1"/>
                <c:pt idx="0">
                  <c:v>54</c:v>
                </c:pt>
              </c:numCache>
            </c:numRef>
          </c:val>
          <c:extLst>
            <c:ext xmlns:c16="http://schemas.microsoft.com/office/drawing/2014/chart" uri="{C3380CC4-5D6E-409C-BE32-E72D297353CC}">
              <c16:uniqueId val="{00000003-74F1-4278-9547-A323C96A58EC}"/>
            </c:ext>
          </c:extLst>
        </c:ser>
        <c:dLbls>
          <c:dLblPos val="inEnd"/>
          <c:showLegendKey val="0"/>
          <c:showVal val="1"/>
          <c:showCatName val="0"/>
          <c:showSerName val="0"/>
          <c:showPercent val="0"/>
          <c:showBubbleSize val="0"/>
        </c:dLbls>
        <c:gapWidth val="80"/>
        <c:overlap val="25"/>
        <c:axId val="560683400"/>
        <c:axId val="560683728"/>
      </c:barChart>
      <c:catAx>
        <c:axId val="560683400"/>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400" b="0" i="0" u="none" strike="noStrike" kern="1200" cap="none" spc="20" normalizeH="0" baseline="0">
                <a:solidFill>
                  <a:schemeClr val="bg1"/>
                </a:solidFill>
                <a:latin typeface="+mn-lt"/>
                <a:ea typeface="+mn-ea"/>
                <a:cs typeface="+mn-cs"/>
              </a:defRPr>
            </a:pPr>
            <a:endParaRPr lang="en-SA"/>
          </a:p>
        </c:txPr>
        <c:crossAx val="560683728"/>
        <c:crosses val="autoZero"/>
        <c:auto val="1"/>
        <c:lblAlgn val="ctr"/>
        <c:lblOffset val="100"/>
        <c:noMultiLvlLbl val="0"/>
      </c:catAx>
      <c:valAx>
        <c:axId val="56068372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spc="20" baseline="0">
                <a:solidFill>
                  <a:schemeClr val="bg1"/>
                </a:solidFill>
                <a:latin typeface="+mn-lt"/>
                <a:ea typeface="+mn-ea"/>
                <a:cs typeface="+mn-cs"/>
              </a:defRPr>
            </a:pPr>
            <a:endParaRPr lang="en-SA"/>
          </a:p>
        </c:txPr>
        <c:crossAx val="560683400"/>
        <c:crosses val="autoZero"/>
        <c:crossBetween val="between"/>
      </c:valAx>
      <c:spPr>
        <a:noFill/>
        <a:ln>
          <a:noFill/>
        </a:ln>
        <a:effectLst/>
      </c:spPr>
    </c:plotArea>
    <c:legend>
      <c:legendPos val="b"/>
      <c:layout>
        <c:manualLayout>
          <c:xMode val="edge"/>
          <c:yMode val="edge"/>
          <c:x val="0.16810498687664041"/>
          <c:y val="4.172564143767743E-2"/>
          <c:w val="0.66379002624671912"/>
          <c:h val="9.2732889158086015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bg1"/>
              </a:solidFill>
              <a:latin typeface="+mn-lt"/>
              <a:ea typeface="+mn-ea"/>
              <a:cs typeface="+mn-cs"/>
            </a:defRPr>
          </a:pPr>
          <a:endParaRPr lang="en-SA"/>
        </a:p>
      </c:txPr>
    </c:legend>
    <c:plotVisOnly val="1"/>
    <c:dispBlanksAs val="gap"/>
    <c:showDLblsOverMax val="0"/>
  </c:chart>
  <c:spPr>
    <a:noFill/>
    <a:ln>
      <a:noFill/>
    </a:ln>
    <a:effectLst/>
  </c:spPr>
  <c:txPr>
    <a:bodyPr/>
    <a:lstStyle/>
    <a:p>
      <a:pPr>
        <a:defRPr sz="1100">
          <a:solidFill>
            <a:schemeClr val="bg1"/>
          </a:solidFill>
        </a:defRPr>
      </a:pPr>
      <a:endParaRPr lang="en-SA"/>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25%</c:v>
                </c:pt>
              </c:strCache>
            </c:strRef>
          </c:tx>
          <c:spPr>
            <a:solidFill>
              <a:schemeClr val="accent1">
                <a:shade val="38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Calibri" panose="020F0502020204030204" pitchFamily="34" charset="0"/>
                    <a:ea typeface="+mj-ea"/>
                    <a:cs typeface="Calibri" panose="020F0502020204030204" pitchFamily="34" charset="0"/>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B$2</c:f>
              <c:numCache>
                <c:formatCode>General</c:formatCode>
                <c:ptCount val="1"/>
                <c:pt idx="0">
                  <c:v>1</c:v>
                </c:pt>
              </c:numCache>
            </c:numRef>
          </c:val>
          <c:extLst>
            <c:ext xmlns:c16="http://schemas.microsoft.com/office/drawing/2014/chart" uri="{C3380CC4-5D6E-409C-BE32-E72D297353CC}">
              <c16:uniqueId val="{00000000-AD9C-F24C-93E4-9E2CB5353F43}"/>
            </c:ext>
          </c:extLst>
        </c:ser>
        <c:ser>
          <c:idx val="1"/>
          <c:order val="1"/>
          <c:tx>
            <c:strRef>
              <c:f>Sheet1!$C$1</c:f>
              <c:strCache>
                <c:ptCount val="1"/>
                <c:pt idx="0">
                  <c:v>30%</c:v>
                </c:pt>
              </c:strCache>
            </c:strRef>
          </c:tx>
          <c:spPr>
            <a:solidFill>
              <a:schemeClr val="accent1">
                <a:shade val="4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C$2</c:f>
              <c:numCache>
                <c:formatCode>General</c:formatCode>
                <c:ptCount val="1"/>
                <c:pt idx="0">
                  <c:v>2</c:v>
                </c:pt>
              </c:numCache>
            </c:numRef>
          </c:val>
          <c:extLst>
            <c:ext xmlns:c16="http://schemas.microsoft.com/office/drawing/2014/chart" uri="{C3380CC4-5D6E-409C-BE32-E72D297353CC}">
              <c16:uniqueId val="{00000001-AD9C-F24C-93E4-9E2CB5353F43}"/>
            </c:ext>
          </c:extLst>
        </c:ser>
        <c:ser>
          <c:idx val="2"/>
          <c:order val="2"/>
          <c:tx>
            <c:strRef>
              <c:f>Sheet1!$D$1</c:f>
              <c:strCache>
                <c:ptCount val="1"/>
                <c:pt idx="0">
                  <c:v>35%</c:v>
                </c:pt>
              </c:strCache>
            </c:strRef>
          </c:tx>
          <c:spPr>
            <a:solidFill>
              <a:schemeClr val="accent1">
                <a:shade val="56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D$2</c:f>
              <c:numCache>
                <c:formatCode>General</c:formatCode>
                <c:ptCount val="1"/>
                <c:pt idx="0">
                  <c:v>1</c:v>
                </c:pt>
              </c:numCache>
            </c:numRef>
          </c:val>
          <c:extLst>
            <c:ext xmlns:c16="http://schemas.microsoft.com/office/drawing/2014/chart" uri="{C3380CC4-5D6E-409C-BE32-E72D297353CC}">
              <c16:uniqueId val="{00000002-AD9C-F24C-93E4-9E2CB5353F43}"/>
            </c:ext>
          </c:extLst>
        </c:ser>
        <c:ser>
          <c:idx val="3"/>
          <c:order val="3"/>
          <c:tx>
            <c:strRef>
              <c:f>Sheet1!$E$1</c:f>
              <c:strCache>
                <c:ptCount val="1"/>
                <c:pt idx="0">
                  <c:v>40%</c:v>
                </c:pt>
              </c:strCache>
            </c:strRef>
          </c:tx>
          <c:spPr>
            <a:solidFill>
              <a:schemeClr val="accent1">
                <a:shade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E$2</c:f>
              <c:numCache>
                <c:formatCode>General</c:formatCode>
                <c:ptCount val="1"/>
                <c:pt idx="0">
                  <c:v>3</c:v>
                </c:pt>
              </c:numCache>
            </c:numRef>
          </c:val>
          <c:extLst>
            <c:ext xmlns:c16="http://schemas.microsoft.com/office/drawing/2014/chart" uri="{C3380CC4-5D6E-409C-BE32-E72D297353CC}">
              <c16:uniqueId val="{00000003-AD9C-F24C-93E4-9E2CB5353F43}"/>
            </c:ext>
          </c:extLst>
        </c:ser>
        <c:ser>
          <c:idx val="4"/>
          <c:order val="4"/>
          <c:tx>
            <c:strRef>
              <c:f>Sheet1!$F$1</c:f>
              <c:strCache>
                <c:ptCount val="1"/>
                <c:pt idx="0">
                  <c:v>45%</c:v>
                </c:pt>
              </c:strCache>
            </c:strRef>
          </c:tx>
          <c:spPr>
            <a:solidFill>
              <a:schemeClr val="accent1">
                <a:shade val="73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F$2</c:f>
              <c:numCache>
                <c:formatCode>General</c:formatCode>
                <c:ptCount val="1"/>
                <c:pt idx="0">
                  <c:v>3</c:v>
                </c:pt>
              </c:numCache>
            </c:numRef>
          </c:val>
          <c:extLst>
            <c:ext xmlns:c16="http://schemas.microsoft.com/office/drawing/2014/chart" uri="{C3380CC4-5D6E-409C-BE32-E72D297353CC}">
              <c16:uniqueId val="{00000005-AD9C-F24C-93E4-9E2CB5353F43}"/>
            </c:ext>
          </c:extLst>
        </c:ser>
        <c:ser>
          <c:idx val="5"/>
          <c:order val="5"/>
          <c:tx>
            <c:strRef>
              <c:f>Sheet1!$G$1</c:f>
              <c:strCache>
                <c:ptCount val="1"/>
                <c:pt idx="0">
                  <c:v>50%</c:v>
                </c:pt>
              </c:strCache>
            </c:strRef>
          </c:tx>
          <c:spPr>
            <a:solidFill>
              <a:schemeClr val="accent1">
                <a:shade val="8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eparator>, </c:separator>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G$2</c:f>
              <c:numCache>
                <c:formatCode>General</c:formatCode>
                <c:ptCount val="1"/>
                <c:pt idx="0">
                  <c:v>12.545454545454545</c:v>
                </c:pt>
              </c:numCache>
            </c:numRef>
          </c:val>
          <c:extLst>
            <c:ext xmlns:c16="http://schemas.microsoft.com/office/drawing/2014/chart" uri="{C3380CC4-5D6E-409C-BE32-E72D297353CC}">
              <c16:uniqueId val="{00000006-AD9C-F24C-93E4-9E2CB5353F43}"/>
            </c:ext>
          </c:extLst>
        </c:ser>
        <c:ser>
          <c:idx val="6"/>
          <c:order val="6"/>
          <c:tx>
            <c:strRef>
              <c:f>Sheet1!$H$1</c:f>
              <c:strCache>
                <c:ptCount val="1"/>
                <c:pt idx="0">
                  <c:v>55%</c:v>
                </c:pt>
              </c:strCache>
            </c:strRef>
          </c:tx>
          <c:spPr>
            <a:solidFill>
              <a:schemeClr val="accent1">
                <a:shade val="91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H$2</c:f>
              <c:numCache>
                <c:formatCode>General</c:formatCode>
                <c:ptCount val="1"/>
                <c:pt idx="0">
                  <c:v>14.272727272727272</c:v>
                </c:pt>
              </c:numCache>
            </c:numRef>
          </c:val>
          <c:extLst>
            <c:ext xmlns:c16="http://schemas.microsoft.com/office/drawing/2014/chart" uri="{C3380CC4-5D6E-409C-BE32-E72D297353CC}">
              <c16:uniqueId val="{00000007-AD9C-F24C-93E4-9E2CB5353F43}"/>
            </c:ext>
          </c:extLst>
        </c:ser>
        <c:ser>
          <c:idx val="7"/>
          <c:order val="7"/>
          <c:tx>
            <c:strRef>
              <c:f>Sheet1!$I$1</c:f>
              <c:strCache>
                <c:ptCount val="1"/>
                <c:pt idx="0">
                  <c:v>60%</c:v>
                </c:pt>
              </c:strCache>
            </c:strRef>
          </c:tx>
          <c:spPr>
            <a:solidFill>
              <a:schemeClr val="accent1"/>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I$2</c:f>
              <c:numCache>
                <c:formatCode>General</c:formatCode>
                <c:ptCount val="1"/>
                <c:pt idx="0">
                  <c:v>18.636363636363633</c:v>
                </c:pt>
              </c:numCache>
            </c:numRef>
          </c:val>
          <c:extLst>
            <c:ext xmlns:c16="http://schemas.microsoft.com/office/drawing/2014/chart" uri="{C3380CC4-5D6E-409C-BE32-E72D297353CC}">
              <c16:uniqueId val="{00000008-AD9C-F24C-93E4-9E2CB5353F43}"/>
            </c:ext>
          </c:extLst>
        </c:ser>
        <c:ser>
          <c:idx val="8"/>
          <c:order val="8"/>
          <c:tx>
            <c:strRef>
              <c:f>Sheet1!$J$1</c:f>
              <c:strCache>
                <c:ptCount val="1"/>
                <c:pt idx="0">
                  <c:v>65%</c:v>
                </c:pt>
              </c:strCache>
            </c:strRef>
          </c:tx>
          <c:spPr>
            <a:solidFill>
              <a:schemeClr val="accent1">
                <a:tint val="92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J$2</c:f>
              <c:numCache>
                <c:formatCode>General</c:formatCode>
                <c:ptCount val="1"/>
                <c:pt idx="0">
                  <c:v>17.799999999999997</c:v>
                </c:pt>
              </c:numCache>
            </c:numRef>
          </c:val>
          <c:extLst>
            <c:ext xmlns:c16="http://schemas.microsoft.com/office/drawing/2014/chart" uri="{C3380CC4-5D6E-409C-BE32-E72D297353CC}">
              <c16:uniqueId val="{00000009-AD9C-F24C-93E4-9E2CB5353F43}"/>
            </c:ext>
          </c:extLst>
        </c:ser>
        <c:ser>
          <c:idx val="9"/>
          <c:order val="9"/>
          <c:tx>
            <c:strRef>
              <c:f>Sheet1!$K$1</c:f>
              <c:strCache>
                <c:ptCount val="1"/>
                <c:pt idx="0">
                  <c:v>70%</c:v>
                </c:pt>
              </c:strCache>
            </c:strRef>
          </c:tx>
          <c:spPr>
            <a:solidFill>
              <a:schemeClr val="accent1">
                <a:tint val="83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K$2</c:f>
              <c:numCache>
                <c:formatCode>General</c:formatCode>
                <c:ptCount val="1"/>
                <c:pt idx="0">
                  <c:v>14.072727272727272</c:v>
                </c:pt>
              </c:numCache>
            </c:numRef>
          </c:val>
          <c:extLst>
            <c:ext xmlns:c16="http://schemas.microsoft.com/office/drawing/2014/chart" uri="{C3380CC4-5D6E-409C-BE32-E72D297353CC}">
              <c16:uniqueId val="{0000000A-AD9C-F24C-93E4-9E2CB5353F43}"/>
            </c:ext>
          </c:extLst>
        </c:ser>
        <c:ser>
          <c:idx val="10"/>
          <c:order val="10"/>
          <c:tx>
            <c:strRef>
              <c:f>Sheet1!$L$1</c:f>
              <c:strCache>
                <c:ptCount val="1"/>
                <c:pt idx="0">
                  <c:v>75%</c:v>
                </c:pt>
              </c:strCache>
            </c:strRef>
          </c:tx>
          <c:spPr>
            <a:solidFill>
              <a:schemeClr val="accent1">
                <a:tint val="74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L$2</c:f>
              <c:numCache>
                <c:formatCode>General</c:formatCode>
                <c:ptCount val="1"/>
                <c:pt idx="0">
                  <c:v>16.999999999999996</c:v>
                </c:pt>
              </c:numCache>
            </c:numRef>
          </c:val>
          <c:extLst>
            <c:ext xmlns:c16="http://schemas.microsoft.com/office/drawing/2014/chart" uri="{C3380CC4-5D6E-409C-BE32-E72D297353CC}">
              <c16:uniqueId val="{0000000B-AD9C-F24C-93E4-9E2CB5353F43}"/>
            </c:ext>
          </c:extLst>
        </c:ser>
        <c:ser>
          <c:idx val="11"/>
          <c:order val="11"/>
          <c:tx>
            <c:strRef>
              <c:f>Sheet1!$M$1</c:f>
              <c:strCache>
                <c:ptCount val="1"/>
                <c:pt idx="0">
                  <c:v>80%</c:v>
                </c:pt>
              </c:strCache>
            </c:strRef>
          </c:tx>
          <c:spPr>
            <a:solidFill>
              <a:schemeClr val="accent1">
                <a:tint val="65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M$2</c:f>
              <c:numCache>
                <c:formatCode>General</c:formatCode>
                <c:ptCount val="1"/>
                <c:pt idx="0">
                  <c:v>8</c:v>
                </c:pt>
              </c:numCache>
            </c:numRef>
          </c:val>
          <c:extLst>
            <c:ext xmlns:c16="http://schemas.microsoft.com/office/drawing/2014/chart" uri="{C3380CC4-5D6E-409C-BE32-E72D297353CC}">
              <c16:uniqueId val="{0000000C-AD9C-F24C-93E4-9E2CB5353F43}"/>
            </c:ext>
          </c:extLst>
        </c:ser>
        <c:ser>
          <c:idx val="12"/>
          <c:order val="12"/>
          <c:tx>
            <c:strRef>
              <c:f>Sheet1!$N$1</c:f>
              <c:strCache>
                <c:ptCount val="1"/>
                <c:pt idx="0">
                  <c:v>85%</c:v>
                </c:pt>
              </c:strCache>
            </c:strRef>
          </c:tx>
          <c:spPr>
            <a:solidFill>
              <a:schemeClr val="accent1">
                <a:tint val="57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N$2</c:f>
              <c:numCache>
                <c:formatCode>General</c:formatCode>
                <c:ptCount val="1"/>
                <c:pt idx="0">
                  <c:v>3.4909090909090903</c:v>
                </c:pt>
              </c:numCache>
            </c:numRef>
          </c:val>
          <c:extLst>
            <c:ext xmlns:c16="http://schemas.microsoft.com/office/drawing/2014/chart" uri="{C3380CC4-5D6E-409C-BE32-E72D297353CC}">
              <c16:uniqueId val="{0000000D-AD9C-F24C-93E4-9E2CB5353F43}"/>
            </c:ext>
          </c:extLst>
        </c:ser>
        <c:ser>
          <c:idx val="13"/>
          <c:order val="13"/>
          <c:tx>
            <c:strRef>
              <c:f>Sheet1!$O$1</c:f>
              <c:strCache>
                <c:ptCount val="1"/>
                <c:pt idx="0">
                  <c:v>90%</c:v>
                </c:pt>
              </c:strCache>
            </c:strRef>
          </c:tx>
          <c:spPr>
            <a:solidFill>
              <a:schemeClr val="accent1">
                <a:tint val="48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O$2</c:f>
              <c:numCache>
                <c:formatCode>General</c:formatCode>
                <c:ptCount val="1"/>
                <c:pt idx="0">
                  <c:v>1</c:v>
                </c:pt>
              </c:numCache>
            </c:numRef>
          </c:val>
          <c:extLst>
            <c:ext xmlns:c16="http://schemas.microsoft.com/office/drawing/2014/chart" uri="{C3380CC4-5D6E-409C-BE32-E72D297353CC}">
              <c16:uniqueId val="{0000000E-AD9C-F24C-93E4-9E2CB5353F43}"/>
            </c:ext>
          </c:extLst>
        </c:ser>
        <c:ser>
          <c:idx val="14"/>
          <c:order val="14"/>
          <c:tx>
            <c:strRef>
              <c:f>Sheet1!$P$1</c:f>
              <c:strCache>
                <c:ptCount val="1"/>
                <c:pt idx="0">
                  <c:v>95%</c:v>
                </c:pt>
              </c:strCache>
            </c:strRef>
          </c:tx>
          <c:spPr>
            <a:solidFill>
              <a:schemeClr val="accent1">
                <a:tint val="39000"/>
              </a:schemeClr>
            </a:solidFill>
            <a:ln>
              <a:noFill/>
            </a:ln>
            <a:effectLst/>
          </c:spPr>
          <c:invertIfNegative val="0"/>
          <c:dLbls>
            <c:spPr>
              <a:noFill/>
              <a:ln>
                <a:noFill/>
              </a:ln>
              <a:effectLst/>
            </c:spPr>
            <c:txPr>
              <a:bodyPr rot="-5400000" spcFirstLastPara="1" vertOverflow="clip" horzOverflow="clip" vert="horz" wrap="square" lIns="38100" tIns="19050" rIns="38100" bIns="19050" anchor="ctr" anchorCtr="1">
                <a:spAutoFit/>
              </a:bodyPr>
              <a:lstStyle/>
              <a:p>
                <a:pPr>
                  <a:defRPr sz="1800" b="0" i="0" u="none" strike="noStrike" kern="1200" baseline="0">
                    <a:solidFill>
                      <a:schemeClr val="bg1"/>
                    </a:solidFill>
                    <a:latin typeface="+mn-lt"/>
                    <a:ea typeface="+mn-ea"/>
                    <a:cs typeface="+mn-cs"/>
                  </a:defRPr>
                </a:pPr>
                <a:endParaRPr lang="en-SA"/>
              </a:p>
            </c:txPr>
            <c:dLblPos val="outEnd"/>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cat>
            <c:strRef>
              <c:f>Sheet1!$A$2</c:f>
              <c:strCache>
                <c:ptCount val="1"/>
                <c:pt idx="0">
                  <c:v>Score</c:v>
                </c:pt>
              </c:strCache>
            </c:strRef>
          </c:cat>
          <c:val>
            <c:numRef>
              <c:f>Sheet1!$P$2</c:f>
              <c:numCache>
                <c:formatCode>General</c:formatCode>
                <c:ptCount val="1"/>
                <c:pt idx="0">
                  <c:v>0</c:v>
                </c:pt>
              </c:numCache>
            </c:numRef>
          </c:val>
          <c:extLst>
            <c:ext xmlns:c16="http://schemas.microsoft.com/office/drawing/2014/chart" uri="{C3380CC4-5D6E-409C-BE32-E72D297353CC}">
              <c16:uniqueId val="{0000000F-AD9C-F24C-93E4-9E2CB5353F43}"/>
            </c:ext>
          </c:extLst>
        </c:ser>
        <c:dLbls>
          <c:dLblPos val="outEnd"/>
          <c:showLegendKey val="0"/>
          <c:showVal val="1"/>
          <c:showCatName val="0"/>
          <c:showSerName val="0"/>
          <c:showPercent val="0"/>
          <c:showBubbleSize val="0"/>
        </c:dLbls>
        <c:gapWidth val="0"/>
        <c:overlap val="1"/>
        <c:axId val="560683400"/>
        <c:axId val="560683728"/>
      </c:barChart>
      <c:catAx>
        <c:axId val="56068340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cap="all" spc="120" normalizeH="0" baseline="0">
                <a:solidFill>
                  <a:schemeClr val="bg1"/>
                </a:solidFill>
                <a:latin typeface="+mn-lt"/>
                <a:ea typeface="+mn-ea"/>
                <a:cs typeface="+mn-cs"/>
              </a:defRPr>
            </a:pPr>
            <a:endParaRPr lang="en-SA"/>
          </a:p>
        </c:txPr>
        <c:crossAx val="560683728"/>
        <c:crosses val="autoZero"/>
        <c:auto val="1"/>
        <c:lblAlgn val="ctr"/>
        <c:lblOffset val="100"/>
        <c:noMultiLvlLbl val="0"/>
      </c:catAx>
      <c:valAx>
        <c:axId val="560683728"/>
        <c:scaling>
          <c:orientation val="minMax"/>
        </c:scaling>
        <c:delete val="0"/>
        <c:axPos val="l"/>
        <c:majorGridlines>
          <c:spPr>
            <a:ln w="6350" cap="flat" cmpd="sng" algn="ctr">
              <a:noFill/>
              <a:round/>
            </a:ln>
            <a:effectLst/>
          </c:spPr>
        </c:majorGridlines>
        <c:title>
          <c:tx>
            <c:rich>
              <a:bodyPr rot="-5400000" spcFirstLastPara="1" vertOverflow="ellipsis" vert="horz" wrap="square" anchor="ctr" anchorCtr="1"/>
              <a:lstStyle/>
              <a:p>
                <a:pPr>
                  <a:defRPr sz="1800" b="0" i="0" u="none" strike="noStrike" kern="1200" cap="all" baseline="0">
                    <a:solidFill>
                      <a:schemeClr val="bg1"/>
                    </a:solidFill>
                    <a:latin typeface="+mn-lt"/>
                    <a:ea typeface="+mn-ea"/>
                    <a:cs typeface="+mn-cs"/>
                  </a:defRPr>
                </a:pPr>
                <a:r>
                  <a:rPr lang="en-US" sz="1800" dirty="0">
                    <a:solidFill>
                      <a:schemeClr val="bg1"/>
                    </a:solidFill>
                  </a:rPr>
                  <a:t>%</a:t>
                </a:r>
              </a:p>
            </c:rich>
          </c:tx>
          <c:overlay val="0"/>
          <c:spPr>
            <a:noFill/>
            <a:ln>
              <a:noFill/>
            </a:ln>
            <a:effectLst/>
          </c:spPr>
          <c:txPr>
            <a:bodyPr rot="-5400000" spcFirstLastPara="1" vertOverflow="ellipsis" vert="horz" wrap="square" anchor="ctr" anchorCtr="1"/>
            <a:lstStyle/>
            <a:p>
              <a:pPr>
                <a:defRPr sz="1800" b="0" i="0" u="none" strike="noStrike" kern="1200" cap="all" baseline="0">
                  <a:solidFill>
                    <a:schemeClr val="bg1"/>
                  </a:solidFill>
                  <a:latin typeface="+mn-lt"/>
                  <a:ea typeface="+mn-ea"/>
                  <a:cs typeface="+mn-cs"/>
                </a:defRPr>
              </a:pPr>
              <a:endParaRPr lang="en-SA"/>
            </a:p>
          </c:txPr>
        </c:title>
        <c:numFmt formatCode="General" sourceLinked="1"/>
        <c:majorTickMark val="out"/>
        <c:minorTickMark val="none"/>
        <c:tickLblPos val="nextTo"/>
        <c:spPr>
          <a:noFill/>
          <a:ln w="9525" cap="flat" cmpd="sng" algn="ctr">
            <a:solidFill>
              <a:schemeClr val="dk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SA"/>
          </a:p>
        </c:txPr>
        <c:crossAx val="560683400"/>
        <c:crosses val="autoZero"/>
        <c:crossBetween val="between"/>
        <c:majorUnit val="1"/>
      </c:valAx>
      <c:spPr>
        <a:noFill/>
        <a:ln>
          <a:noFill/>
        </a:ln>
        <a:effectLst/>
      </c:spPr>
    </c:plotArea>
    <c:plotVisOnly val="1"/>
    <c:dispBlanksAs val="gap"/>
    <c:showDLblsOverMax val="0"/>
  </c:chart>
  <c:spPr>
    <a:noFill/>
    <a:ln>
      <a:noFill/>
    </a:ln>
    <a:effectLst/>
  </c:spPr>
  <c:txPr>
    <a:bodyPr/>
    <a:lstStyle/>
    <a:p>
      <a:pPr>
        <a:defRPr/>
      </a:pPr>
      <a:endParaRPr lang="en-SA"/>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1197"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2128"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spc="20" baseline="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2">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064" b="0" i="0" u="none" strike="noStrike" kern="1200" baseline="0"/>
    <cs:bodyPr rot="-5400000" spcFirstLastPara="1" vertOverflow="clip" horzOverflow="clip" vert="horz" wrap="square" lIns="38100" tIns="19050" rIns="38100" bIns="19050" anchor="ctr" anchorCtr="1">
      <a:spAutoFit/>
    </cs:bodyPr>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2E704E8-BF44-4CBC-AE85-D0E272EA51DE}" type="doc">
      <dgm:prSet loTypeId="urn:microsoft.com/office/officeart/2005/8/layout/venn2" loCatId="relationship" qsTypeId="urn:microsoft.com/office/officeart/2005/8/quickstyle/simple1" qsCatId="simple" csTypeId="urn:microsoft.com/office/officeart/2005/8/colors/colorful2" csCatId="colorful" phldr="1"/>
      <dgm:spPr/>
      <dgm:t>
        <a:bodyPr/>
        <a:lstStyle/>
        <a:p>
          <a:endParaRPr lang="en-US"/>
        </a:p>
      </dgm:t>
    </dgm:pt>
    <dgm:pt modelId="{C8129995-0A45-42CF-839E-003C80B550D7}">
      <dgm:prSet phldrT="[Text]" custT="1"/>
      <dgm:spPr>
        <a:noFill/>
        <a:ln w="114300">
          <a:gradFill>
            <a:gsLst>
              <a:gs pos="0">
                <a:schemeClr val="accent3">
                  <a:alpha val="50000"/>
                </a:schemeClr>
              </a:gs>
              <a:gs pos="58000">
                <a:schemeClr val="accent2">
                  <a:alpha val="50000"/>
                </a:schemeClr>
              </a:gs>
              <a:gs pos="100000">
                <a:schemeClr val="accent1">
                  <a:alpha val="65000"/>
                </a:schemeClr>
              </a:gs>
            </a:gsLst>
            <a:lin ang="5400000" scaled="1"/>
          </a:gradFill>
        </a:ln>
      </dgm:spPr>
      <dgm:t>
        <a:bodyPr/>
        <a:lstStyle/>
        <a:p>
          <a:pPr rtl="0"/>
          <a:r>
            <a:rPr lang="en-US" sz="2000" dirty="0">
              <a:solidFill>
                <a:schemeClr val="bg1"/>
              </a:solidFill>
              <a:latin typeface="+mj-lt"/>
              <a:cs typeface="Dubai" panose="020B0503030403030204" pitchFamily="34" charset="-78"/>
            </a:rPr>
            <a:t>Publicity</a:t>
          </a:r>
        </a:p>
      </dgm:t>
    </dgm:pt>
    <dgm:pt modelId="{75D528C1-4FA6-426A-B569-6427802E364C}" type="parTrans" cxnId="{16DA60BC-F87A-473C-9AB3-F411AF56C923}">
      <dgm:prSet/>
      <dgm:spPr/>
      <dgm:t>
        <a:bodyPr/>
        <a:lstStyle/>
        <a:p>
          <a:pPr rtl="0"/>
          <a:endParaRPr lang="en-US"/>
        </a:p>
      </dgm:t>
    </dgm:pt>
    <dgm:pt modelId="{E433FFAB-136E-433B-BAC1-0F205B0B2F39}" type="sibTrans" cxnId="{16DA60BC-F87A-473C-9AB3-F411AF56C923}">
      <dgm:prSet/>
      <dgm:spPr/>
      <dgm:t>
        <a:bodyPr/>
        <a:lstStyle/>
        <a:p>
          <a:pPr rtl="0"/>
          <a:endParaRPr lang="en-US"/>
        </a:p>
      </dgm:t>
    </dgm:pt>
    <dgm:pt modelId="{36AC0D4F-A1AB-490E-AF24-6D8537F52619}">
      <dgm:prSet phldrT="[Text]" custT="1"/>
      <dgm:spPr>
        <a:noFill/>
        <a:ln w="76200">
          <a:gradFill>
            <a:gsLst>
              <a:gs pos="58000">
                <a:srgbClr val="2B2D78">
                  <a:alpha val="50000"/>
                </a:srgbClr>
              </a:gs>
              <a:gs pos="0">
                <a:schemeClr val="accent3">
                  <a:alpha val="40000"/>
                </a:schemeClr>
              </a:gs>
              <a:gs pos="100000">
                <a:schemeClr val="accent1">
                  <a:alpha val="65000"/>
                </a:schemeClr>
              </a:gs>
            </a:gsLst>
            <a:lin ang="5400000" scaled="1"/>
          </a:gradFill>
        </a:ln>
      </dgm:spPr>
      <dgm:t>
        <a:bodyPr/>
        <a:lstStyle/>
        <a:p>
          <a:pPr marL="0" lvl="0" indent="0" algn="ctr" defTabSz="889000" rtl="0">
            <a:lnSpc>
              <a:spcPct val="90000"/>
            </a:lnSpc>
            <a:spcBef>
              <a:spcPct val="0"/>
            </a:spcBef>
            <a:spcAft>
              <a:spcPct val="35000"/>
            </a:spcAft>
            <a:buNone/>
          </a:pPr>
          <a:r>
            <a:rPr lang="en-US" sz="2000" kern="1200" dirty="0">
              <a:solidFill>
                <a:prstClr val="white"/>
              </a:solidFill>
              <a:latin typeface="+mj-lt"/>
              <a:ea typeface="맑은 고딕"/>
              <a:cs typeface="Dubai" panose="020B0503030403030204" pitchFamily="34" charset="-78"/>
            </a:rPr>
            <a:t>Traffic</a:t>
          </a:r>
        </a:p>
      </dgm:t>
    </dgm:pt>
    <dgm:pt modelId="{5DB74079-276A-48C0-A50A-CB17463EE7E7}" type="parTrans" cxnId="{640E03F2-9A37-44C1-A10A-5D0294768999}">
      <dgm:prSet/>
      <dgm:spPr/>
      <dgm:t>
        <a:bodyPr/>
        <a:lstStyle/>
        <a:p>
          <a:pPr rtl="0"/>
          <a:endParaRPr lang="en-US"/>
        </a:p>
      </dgm:t>
    </dgm:pt>
    <dgm:pt modelId="{B652C774-F379-4B3A-9904-B42593E4D774}" type="sibTrans" cxnId="{640E03F2-9A37-44C1-A10A-5D0294768999}">
      <dgm:prSet/>
      <dgm:spPr/>
      <dgm:t>
        <a:bodyPr/>
        <a:lstStyle/>
        <a:p>
          <a:pPr rtl="0"/>
          <a:endParaRPr lang="en-US"/>
        </a:p>
      </dgm:t>
    </dgm:pt>
    <dgm:pt modelId="{63FE7D5F-9FF2-4FEC-9EAB-7143DEF635D7}">
      <dgm:prSet phldrT="[Text]" custT="1"/>
      <dgm:spPr>
        <a:noFill/>
        <a:ln w="38100">
          <a:gradFill>
            <a:gsLst>
              <a:gs pos="0">
                <a:schemeClr val="accent3">
                  <a:alpha val="40000"/>
                </a:schemeClr>
              </a:gs>
              <a:gs pos="58000">
                <a:schemeClr val="accent2">
                  <a:alpha val="50000"/>
                </a:schemeClr>
              </a:gs>
              <a:gs pos="100000">
                <a:schemeClr val="accent1">
                  <a:alpha val="65000"/>
                </a:schemeClr>
              </a:gs>
            </a:gsLst>
            <a:lin ang="5400000" scaled="1"/>
          </a:gradFill>
        </a:ln>
      </dgm:spPr>
      <dgm:t>
        <a:bodyPr/>
        <a:lstStyle/>
        <a:p>
          <a:pPr rtl="0"/>
          <a:r>
            <a:rPr lang="en-US" sz="1200" dirty="0">
              <a:solidFill>
                <a:schemeClr val="bg1"/>
              </a:solidFill>
              <a:latin typeface="+mj-lt"/>
              <a:cs typeface="Dubai" panose="020B0503030403030204" pitchFamily="34" charset="-78"/>
            </a:rPr>
            <a:t>Multi-Page</a:t>
          </a:r>
        </a:p>
      </dgm:t>
    </dgm:pt>
    <dgm:pt modelId="{1E5BE778-2F03-447B-870F-7C7C558E2125}" type="parTrans" cxnId="{3E7DA384-BCBA-4A8A-B5B6-600DFBF8E768}">
      <dgm:prSet/>
      <dgm:spPr/>
      <dgm:t>
        <a:bodyPr/>
        <a:lstStyle/>
        <a:p>
          <a:pPr rtl="0"/>
          <a:endParaRPr lang="en-US"/>
        </a:p>
      </dgm:t>
    </dgm:pt>
    <dgm:pt modelId="{FE4917BF-3035-4683-A187-6B9C1B8AF4EE}" type="sibTrans" cxnId="{3E7DA384-BCBA-4A8A-B5B6-600DFBF8E768}">
      <dgm:prSet/>
      <dgm:spPr/>
      <dgm:t>
        <a:bodyPr/>
        <a:lstStyle/>
        <a:p>
          <a:pPr rtl="0"/>
          <a:endParaRPr lang="en-US"/>
        </a:p>
      </dgm:t>
    </dgm:pt>
    <dgm:pt modelId="{C3493F1B-566E-47ED-BBD5-D77107AA2F08}">
      <dgm:prSet phldrT="[Text]" custT="1"/>
      <dgm:spPr>
        <a:noFill/>
        <a:ln w="12700">
          <a:gradFill>
            <a:gsLst>
              <a:gs pos="0">
                <a:schemeClr val="accent3">
                  <a:alpha val="50000"/>
                </a:schemeClr>
              </a:gs>
              <a:gs pos="58000">
                <a:schemeClr val="accent2">
                  <a:alpha val="50000"/>
                </a:schemeClr>
              </a:gs>
              <a:gs pos="100000">
                <a:schemeClr val="accent1">
                  <a:alpha val="65000"/>
                </a:schemeClr>
              </a:gs>
            </a:gsLst>
            <a:lin ang="5400000" scaled="1"/>
          </a:gradFill>
        </a:ln>
      </dgm:spPr>
      <dgm:t>
        <a:bodyPr/>
        <a:lstStyle/>
        <a:p>
          <a:pPr rtl="0"/>
          <a:r>
            <a:rPr lang="en-US" sz="800" dirty="0">
              <a:solidFill>
                <a:schemeClr val="bg1"/>
              </a:solidFill>
              <a:latin typeface="+mj-lt"/>
              <a:cs typeface="Dubai" panose="020B0503030403030204" pitchFamily="34" charset="-78"/>
            </a:rPr>
            <a:t>Conversion</a:t>
          </a:r>
        </a:p>
      </dgm:t>
    </dgm:pt>
    <dgm:pt modelId="{4C7695C3-76B3-43F7-82FE-A4D4CC552C1A}" type="parTrans" cxnId="{D5ABEE0F-0E15-4C3D-B3A5-0269658B868B}">
      <dgm:prSet/>
      <dgm:spPr/>
      <dgm:t>
        <a:bodyPr/>
        <a:lstStyle/>
        <a:p>
          <a:pPr rtl="0"/>
          <a:endParaRPr lang="en-US"/>
        </a:p>
      </dgm:t>
    </dgm:pt>
    <dgm:pt modelId="{ED56E822-E35C-4729-B313-B5C8011777B1}" type="sibTrans" cxnId="{D5ABEE0F-0E15-4C3D-B3A5-0269658B868B}">
      <dgm:prSet/>
      <dgm:spPr/>
      <dgm:t>
        <a:bodyPr/>
        <a:lstStyle/>
        <a:p>
          <a:pPr rtl="0"/>
          <a:endParaRPr lang="en-US"/>
        </a:p>
      </dgm:t>
    </dgm:pt>
    <dgm:pt modelId="{AFAE9E91-40A0-43BA-95E5-0E09348E6B73}" type="pres">
      <dgm:prSet presAssocID="{B2E704E8-BF44-4CBC-AE85-D0E272EA51DE}" presName="Name0" presStyleCnt="0">
        <dgm:presLayoutVars>
          <dgm:chMax val="7"/>
          <dgm:resizeHandles val="exact"/>
        </dgm:presLayoutVars>
      </dgm:prSet>
      <dgm:spPr/>
    </dgm:pt>
    <dgm:pt modelId="{A1C9BAE9-47FF-44E6-ADAD-9A2B1487EB1F}" type="pres">
      <dgm:prSet presAssocID="{B2E704E8-BF44-4CBC-AE85-D0E272EA51DE}" presName="comp1" presStyleCnt="0"/>
      <dgm:spPr/>
    </dgm:pt>
    <dgm:pt modelId="{E9578D23-E4CA-460C-9F03-DFD4937FFC6B}" type="pres">
      <dgm:prSet presAssocID="{B2E704E8-BF44-4CBC-AE85-D0E272EA51DE}" presName="circle1" presStyleLbl="node1" presStyleIdx="0" presStyleCnt="4"/>
      <dgm:spPr/>
    </dgm:pt>
    <dgm:pt modelId="{ABEE62FC-8960-49B0-A2EF-8E48BC5690A9}" type="pres">
      <dgm:prSet presAssocID="{B2E704E8-BF44-4CBC-AE85-D0E272EA51DE}" presName="c1text" presStyleLbl="node1" presStyleIdx="0" presStyleCnt="4">
        <dgm:presLayoutVars>
          <dgm:bulletEnabled val="1"/>
        </dgm:presLayoutVars>
      </dgm:prSet>
      <dgm:spPr/>
    </dgm:pt>
    <dgm:pt modelId="{39326F89-2154-4D9A-B6EB-3D59BEDC7DBD}" type="pres">
      <dgm:prSet presAssocID="{B2E704E8-BF44-4CBC-AE85-D0E272EA51DE}" presName="comp2" presStyleCnt="0"/>
      <dgm:spPr/>
    </dgm:pt>
    <dgm:pt modelId="{71A714F8-BF97-41CD-BFA3-0B1D819FDDC3}" type="pres">
      <dgm:prSet presAssocID="{B2E704E8-BF44-4CBC-AE85-D0E272EA51DE}" presName="circle2" presStyleLbl="node1" presStyleIdx="1" presStyleCnt="4" custScaleX="75774" custScaleY="75774"/>
      <dgm:spPr/>
    </dgm:pt>
    <dgm:pt modelId="{104A8990-0522-4A4B-86B3-88D56D5D0AF2}" type="pres">
      <dgm:prSet presAssocID="{B2E704E8-BF44-4CBC-AE85-D0E272EA51DE}" presName="c2text" presStyleLbl="node1" presStyleIdx="1" presStyleCnt="4">
        <dgm:presLayoutVars>
          <dgm:bulletEnabled val="1"/>
        </dgm:presLayoutVars>
      </dgm:prSet>
      <dgm:spPr/>
    </dgm:pt>
    <dgm:pt modelId="{9D3DE31D-8159-437A-9FD7-16839D864A35}" type="pres">
      <dgm:prSet presAssocID="{B2E704E8-BF44-4CBC-AE85-D0E272EA51DE}" presName="comp3" presStyleCnt="0"/>
      <dgm:spPr/>
    </dgm:pt>
    <dgm:pt modelId="{AED24801-9CB8-4576-8EB2-C4964A5B9EE9}" type="pres">
      <dgm:prSet presAssocID="{B2E704E8-BF44-4CBC-AE85-D0E272EA51DE}" presName="circle3" presStyleLbl="node1" presStyleIdx="2" presStyleCnt="4" custScaleX="63201" custScaleY="63201"/>
      <dgm:spPr/>
    </dgm:pt>
    <dgm:pt modelId="{30EEB74B-DBD6-460B-A680-0184407E6B1D}" type="pres">
      <dgm:prSet presAssocID="{B2E704E8-BF44-4CBC-AE85-D0E272EA51DE}" presName="c3text" presStyleLbl="node1" presStyleIdx="2" presStyleCnt="4">
        <dgm:presLayoutVars>
          <dgm:bulletEnabled val="1"/>
        </dgm:presLayoutVars>
      </dgm:prSet>
      <dgm:spPr/>
    </dgm:pt>
    <dgm:pt modelId="{5739D912-9765-46E9-B4A2-8801A574CA68}" type="pres">
      <dgm:prSet presAssocID="{B2E704E8-BF44-4CBC-AE85-D0E272EA51DE}" presName="comp4" presStyleCnt="0"/>
      <dgm:spPr/>
    </dgm:pt>
    <dgm:pt modelId="{C3DF1F0E-3768-4D0E-B06B-9DCE7C3489F7}" type="pres">
      <dgm:prSet presAssocID="{B2E704E8-BF44-4CBC-AE85-D0E272EA51DE}" presName="circle4" presStyleLbl="node1" presStyleIdx="3" presStyleCnt="4" custScaleX="39580" custScaleY="39580"/>
      <dgm:spPr/>
    </dgm:pt>
    <dgm:pt modelId="{5B9F0B64-F82C-41C4-84B4-453A0867FB3D}" type="pres">
      <dgm:prSet presAssocID="{B2E704E8-BF44-4CBC-AE85-D0E272EA51DE}" presName="c4text" presStyleLbl="node1" presStyleIdx="3" presStyleCnt="4">
        <dgm:presLayoutVars>
          <dgm:bulletEnabled val="1"/>
        </dgm:presLayoutVars>
      </dgm:prSet>
      <dgm:spPr/>
    </dgm:pt>
  </dgm:ptLst>
  <dgm:cxnLst>
    <dgm:cxn modelId="{D5ABEE0F-0E15-4C3D-B3A5-0269658B868B}" srcId="{B2E704E8-BF44-4CBC-AE85-D0E272EA51DE}" destId="{C3493F1B-566E-47ED-BBD5-D77107AA2F08}" srcOrd="3" destOrd="0" parTransId="{4C7695C3-76B3-43F7-82FE-A4D4CC552C1A}" sibTransId="{ED56E822-E35C-4729-B313-B5C8011777B1}"/>
    <dgm:cxn modelId="{75F02742-9097-4FD1-B882-DC84997BBB94}" type="presOf" srcId="{36AC0D4F-A1AB-490E-AF24-6D8537F52619}" destId="{104A8990-0522-4A4B-86B3-88D56D5D0AF2}" srcOrd="1" destOrd="0" presId="urn:microsoft.com/office/officeart/2005/8/layout/venn2"/>
    <dgm:cxn modelId="{0E30FD4E-0ABC-4D7B-B02B-32613A4C98FF}" type="presOf" srcId="{C3493F1B-566E-47ED-BBD5-D77107AA2F08}" destId="{C3DF1F0E-3768-4D0E-B06B-9DCE7C3489F7}" srcOrd="0" destOrd="0" presId="urn:microsoft.com/office/officeart/2005/8/layout/venn2"/>
    <dgm:cxn modelId="{15D69155-AEE0-48AD-8A69-D09F4B549382}" type="presOf" srcId="{63FE7D5F-9FF2-4FEC-9EAB-7143DEF635D7}" destId="{30EEB74B-DBD6-460B-A680-0184407E6B1D}" srcOrd="1" destOrd="0" presId="urn:microsoft.com/office/officeart/2005/8/layout/venn2"/>
    <dgm:cxn modelId="{3E7DA384-BCBA-4A8A-B5B6-600DFBF8E768}" srcId="{B2E704E8-BF44-4CBC-AE85-D0E272EA51DE}" destId="{63FE7D5F-9FF2-4FEC-9EAB-7143DEF635D7}" srcOrd="2" destOrd="0" parTransId="{1E5BE778-2F03-447B-870F-7C7C558E2125}" sibTransId="{FE4917BF-3035-4683-A187-6B9C1B8AF4EE}"/>
    <dgm:cxn modelId="{E1B06C85-B040-449B-B89B-42AA110AF1EB}" type="presOf" srcId="{36AC0D4F-A1AB-490E-AF24-6D8537F52619}" destId="{71A714F8-BF97-41CD-BFA3-0B1D819FDDC3}" srcOrd="0" destOrd="0" presId="urn:microsoft.com/office/officeart/2005/8/layout/venn2"/>
    <dgm:cxn modelId="{4920308A-2D44-4FC5-938F-FB331412671A}" type="presOf" srcId="{C8129995-0A45-42CF-839E-003C80B550D7}" destId="{ABEE62FC-8960-49B0-A2EF-8E48BC5690A9}" srcOrd="1" destOrd="0" presId="urn:microsoft.com/office/officeart/2005/8/layout/venn2"/>
    <dgm:cxn modelId="{A7C5B88D-FCDE-4C2D-BF09-39C520335DD7}" type="presOf" srcId="{B2E704E8-BF44-4CBC-AE85-D0E272EA51DE}" destId="{AFAE9E91-40A0-43BA-95E5-0E09348E6B73}" srcOrd="0" destOrd="0" presId="urn:microsoft.com/office/officeart/2005/8/layout/venn2"/>
    <dgm:cxn modelId="{9252808F-61C9-4F6A-A89C-A24F38A9CB4C}" type="presOf" srcId="{C3493F1B-566E-47ED-BBD5-D77107AA2F08}" destId="{5B9F0B64-F82C-41C4-84B4-453A0867FB3D}" srcOrd="1" destOrd="0" presId="urn:microsoft.com/office/officeart/2005/8/layout/venn2"/>
    <dgm:cxn modelId="{16DA60BC-F87A-473C-9AB3-F411AF56C923}" srcId="{B2E704E8-BF44-4CBC-AE85-D0E272EA51DE}" destId="{C8129995-0A45-42CF-839E-003C80B550D7}" srcOrd="0" destOrd="0" parTransId="{75D528C1-4FA6-426A-B569-6427802E364C}" sibTransId="{E433FFAB-136E-433B-BAC1-0F205B0B2F39}"/>
    <dgm:cxn modelId="{D0FD75D7-9E3D-454E-A182-D926367FC5FE}" type="presOf" srcId="{C8129995-0A45-42CF-839E-003C80B550D7}" destId="{E9578D23-E4CA-460C-9F03-DFD4937FFC6B}" srcOrd="0" destOrd="0" presId="urn:microsoft.com/office/officeart/2005/8/layout/venn2"/>
    <dgm:cxn modelId="{D9D9C6F0-99FB-4513-B7B9-F119D3881F7D}" type="presOf" srcId="{63FE7D5F-9FF2-4FEC-9EAB-7143DEF635D7}" destId="{AED24801-9CB8-4576-8EB2-C4964A5B9EE9}" srcOrd="0" destOrd="0" presId="urn:microsoft.com/office/officeart/2005/8/layout/venn2"/>
    <dgm:cxn modelId="{640E03F2-9A37-44C1-A10A-5D0294768999}" srcId="{B2E704E8-BF44-4CBC-AE85-D0E272EA51DE}" destId="{36AC0D4F-A1AB-490E-AF24-6D8537F52619}" srcOrd="1" destOrd="0" parTransId="{5DB74079-276A-48C0-A50A-CB17463EE7E7}" sibTransId="{B652C774-F379-4B3A-9904-B42593E4D774}"/>
    <dgm:cxn modelId="{C4B910F0-0560-40DF-82D5-5AFAADD50AE9}" type="presParOf" srcId="{AFAE9E91-40A0-43BA-95E5-0E09348E6B73}" destId="{A1C9BAE9-47FF-44E6-ADAD-9A2B1487EB1F}" srcOrd="0" destOrd="0" presId="urn:microsoft.com/office/officeart/2005/8/layout/venn2"/>
    <dgm:cxn modelId="{69B127E8-2C8C-4736-BB14-47302850EE1A}" type="presParOf" srcId="{A1C9BAE9-47FF-44E6-ADAD-9A2B1487EB1F}" destId="{E9578D23-E4CA-460C-9F03-DFD4937FFC6B}" srcOrd="0" destOrd="0" presId="urn:microsoft.com/office/officeart/2005/8/layout/venn2"/>
    <dgm:cxn modelId="{C705A80A-DAF8-4DCD-BC38-67C349748734}" type="presParOf" srcId="{A1C9BAE9-47FF-44E6-ADAD-9A2B1487EB1F}" destId="{ABEE62FC-8960-49B0-A2EF-8E48BC5690A9}" srcOrd="1" destOrd="0" presId="urn:microsoft.com/office/officeart/2005/8/layout/venn2"/>
    <dgm:cxn modelId="{153D33D9-B051-44CA-B5B3-6DEDA1E3371E}" type="presParOf" srcId="{AFAE9E91-40A0-43BA-95E5-0E09348E6B73}" destId="{39326F89-2154-4D9A-B6EB-3D59BEDC7DBD}" srcOrd="1" destOrd="0" presId="urn:microsoft.com/office/officeart/2005/8/layout/venn2"/>
    <dgm:cxn modelId="{5B18897D-8286-417C-B6A6-E44C1CFFABDD}" type="presParOf" srcId="{39326F89-2154-4D9A-B6EB-3D59BEDC7DBD}" destId="{71A714F8-BF97-41CD-BFA3-0B1D819FDDC3}" srcOrd="0" destOrd="0" presId="urn:microsoft.com/office/officeart/2005/8/layout/venn2"/>
    <dgm:cxn modelId="{7CA99161-187C-4FA6-974D-6B264F0851D3}" type="presParOf" srcId="{39326F89-2154-4D9A-B6EB-3D59BEDC7DBD}" destId="{104A8990-0522-4A4B-86B3-88D56D5D0AF2}" srcOrd="1" destOrd="0" presId="urn:microsoft.com/office/officeart/2005/8/layout/venn2"/>
    <dgm:cxn modelId="{D11F8D2F-A789-4B0D-96A8-B54CD272144F}" type="presParOf" srcId="{AFAE9E91-40A0-43BA-95E5-0E09348E6B73}" destId="{9D3DE31D-8159-437A-9FD7-16839D864A35}" srcOrd="2" destOrd="0" presId="urn:microsoft.com/office/officeart/2005/8/layout/venn2"/>
    <dgm:cxn modelId="{823E8F9E-87CC-439B-9AD5-5A1C77A7FFEB}" type="presParOf" srcId="{9D3DE31D-8159-437A-9FD7-16839D864A35}" destId="{AED24801-9CB8-4576-8EB2-C4964A5B9EE9}" srcOrd="0" destOrd="0" presId="urn:microsoft.com/office/officeart/2005/8/layout/venn2"/>
    <dgm:cxn modelId="{6636146D-D685-47F4-A610-FA6F9990ACDD}" type="presParOf" srcId="{9D3DE31D-8159-437A-9FD7-16839D864A35}" destId="{30EEB74B-DBD6-460B-A680-0184407E6B1D}" srcOrd="1" destOrd="0" presId="urn:microsoft.com/office/officeart/2005/8/layout/venn2"/>
    <dgm:cxn modelId="{316CA966-FD2F-4012-8BC5-B949C8BFCE06}" type="presParOf" srcId="{AFAE9E91-40A0-43BA-95E5-0E09348E6B73}" destId="{5739D912-9765-46E9-B4A2-8801A574CA68}" srcOrd="3" destOrd="0" presId="urn:microsoft.com/office/officeart/2005/8/layout/venn2"/>
    <dgm:cxn modelId="{CD519206-68CA-4776-9D34-214FA58ED687}" type="presParOf" srcId="{5739D912-9765-46E9-B4A2-8801A574CA68}" destId="{C3DF1F0E-3768-4D0E-B06B-9DCE7C3489F7}" srcOrd="0" destOrd="0" presId="urn:microsoft.com/office/officeart/2005/8/layout/venn2"/>
    <dgm:cxn modelId="{D9D6EE69-910F-4358-B6EE-39569A4CE3C3}" type="presParOf" srcId="{5739D912-9765-46E9-B4A2-8801A574CA68}" destId="{5B9F0B64-F82C-41C4-84B4-453A0867FB3D}" srcOrd="1" destOrd="0" presId="urn:microsoft.com/office/officeart/2005/8/layout/ven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2E704E8-BF44-4CBC-AE85-D0E272EA51DE}" type="doc">
      <dgm:prSet loTypeId="urn:microsoft.com/office/officeart/2005/8/layout/venn2" loCatId="relationship" qsTypeId="urn:microsoft.com/office/officeart/2005/8/quickstyle/simple1" qsCatId="simple" csTypeId="urn:microsoft.com/office/officeart/2005/8/colors/colorful2" csCatId="colorful" phldr="1"/>
      <dgm:spPr/>
      <dgm:t>
        <a:bodyPr/>
        <a:lstStyle/>
        <a:p>
          <a:endParaRPr lang="en-US"/>
        </a:p>
      </dgm:t>
    </dgm:pt>
    <dgm:pt modelId="{C8129995-0A45-42CF-839E-003C80B550D7}">
      <dgm:prSet phldrT="[Text]" custT="1"/>
      <dgm:spPr>
        <a:noFill/>
        <a:ln w="114300">
          <a:gradFill>
            <a:gsLst>
              <a:gs pos="0">
                <a:schemeClr val="accent3">
                  <a:alpha val="50000"/>
                </a:schemeClr>
              </a:gs>
              <a:gs pos="58000">
                <a:schemeClr val="accent2">
                  <a:alpha val="50000"/>
                </a:schemeClr>
              </a:gs>
              <a:gs pos="100000">
                <a:schemeClr val="accent1">
                  <a:alpha val="65000"/>
                </a:schemeClr>
              </a:gs>
            </a:gsLst>
            <a:lin ang="5400000" scaled="1"/>
          </a:gradFill>
        </a:ln>
      </dgm:spPr>
      <dgm:t>
        <a:bodyPr/>
        <a:lstStyle/>
        <a:p>
          <a:pPr rtl="0"/>
          <a:r>
            <a:rPr lang="en-US" sz="2000" dirty="0">
              <a:solidFill>
                <a:schemeClr val="bg1"/>
              </a:solidFill>
              <a:latin typeface="+mj-lt"/>
              <a:cs typeface="Dubai" panose="020B0503030403030204" pitchFamily="34" charset="-78"/>
            </a:rPr>
            <a:t>Publicity</a:t>
          </a:r>
        </a:p>
      </dgm:t>
    </dgm:pt>
    <dgm:pt modelId="{75D528C1-4FA6-426A-B569-6427802E364C}" type="parTrans" cxnId="{16DA60BC-F87A-473C-9AB3-F411AF56C923}">
      <dgm:prSet/>
      <dgm:spPr/>
      <dgm:t>
        <a:bodyPr/>
        <a:lstStyle/>
        <a:p>
          <a:pPr rtl="0"/>
          <a:endParaRPr lang="en-US"/>
        </a:p>
      </dgm:t>
    </dgm:pt>
    <dgm:pt modelId="{E433FFAB-136E-433B-BAC1-0F205B0B2F39}" type="sibTrans" cxnId="{16DA60BC-F87A-473C-9AB3-F411AF56C923}">
      <dgm:prSet/>
      <dgm:spPr/>
      <dgm:t>
        <a:bodyPr/>
        <a:lstStyle/>
        <a:p>
          <a:pPr rtl="0"/>
          <a:endParaRPr lang="en-US"/>
        </a:p>
      </dgm:t>
    </dgm:pt>
    <dgm:pt modelId="{36AC0D4F-A1AB-490E-AF24-6D8537F52619}">
      <dgm:prSet phldrT="[Text]" custT="1"/>
      <dgm:spPr>
        <a:noFill/>
        <a:ln w="76200">
          <a:gradFill>
            <a:gsLst>
              <a:gs pos="58000">
                <a:schemeClr val="accent2">
                  <a:alpha val="50000"/>
                </a:schemeClr>
              </a:gs>
              <a:gs pos="0">
                <a:schemeClr val="accent3">
                  <a:alpha val="40000"/>
                </a:schemeClr>
              </a:gs>
              <a:gs pos="100000">
                <a:schemeClr val="accent1">
                  <a:alpha val="65000"/>
                </a:schemeClr>
              </a:gs>
            </a:gsLst>
            <a:lin ang="5400000" scaled="1"/>
          </a:gradFill>
        </a:ln>
      </dgm:spPr>
      <dgm:t>
        <a:bodyPr/>
        <a:lstStyle/>
        <a:p>
          <a:pPr marL="0" lvl="0" indent="0" algn="ctr" defTabSz="889000" rtl="0">
            <a:lnSpc>
              <a:spcPct val="90000"/>
            </a:lnSpc>
            <a:spcBef>
              <a:spcPct val="0"/>
            </a:spcBef>
            <a:spcAft>
              <a:spcPct val="35000"/>
            </a:spcAft>
            <a:buNone/>
          </a:pPr>
          <a:r>
            <a:rPr lang="en-US" sz="2000" kern="1200" dirty="0">
              <a:solidFill>
                <a:prstClr val="white"/>
              </a:solidFill>
              <a:latin typeface="+mj-lt"/>
              <a:ea typeface="맑은 고딕"/>
              <a:cs typeface="Dubai" panose="020B0503030403030204" pitchFamily="34" charset="-78"/>
            </a:rPr>
            <a:t>Traffic</a:t>
          </a:r>
        </a:p>
      </dgm:t>
    </dgm:pt>
    <dgm:pt modelId="{5DB74079-276A-48C0-A50A-CB17463EE7E7}" type="parTrans" cxnId="{640E03F2-9A37-44C1-A10A-5D0294768999}">
      <dgm:prSet/>
      <dgm:spPr/>
      <dgm:t>
        <a:bodyPr/>
        <a:lstStyle/>
        <a:p>
          <a:pPr rtl="0"/>
          <a:endParaRPr lang="en-US"/>
        </a:p>
      </dgm:t>
    </dgm:pt>
    <dgm:pt modelId="{B652C774-F379-4B3A-9904-B42593E4D774}" type="sibTrans" cxnId="{640E03F2-9A37-44C1-A10A-5D0294768999}">
      <dgm:prSet/>
      <dgm:spPr/>
      <dgm:t>
        <a:bodyPr/>
        <a:lstStyle/>
        <a:p>
          <a:pPr rtl="0"/>
          <a:endParaRPr lang="en-US"/>
        </a:p>
      </dgm:t>
    </dgm:pt>
    <dgm:pt modelId="{63FE7D5F-9FF2-4FEC-9EAB-7143DEF635D7}">
      <dgm:prSet phldrT="[Text]" custT="1"/>
      <dgm:spPr>
        <a:noFill/>
        <a:ln w="38100">
          <a:gradFill>
            <a:gsLst>
              <a:gs pos="0">
                <a:schemeClr val="accent3">
                  <a:alpha val="40000"/>
                </a:schemeClr>
              </a:gs>
              <a:gs pos="58000">
                <a:schemeClr val="accent2">
                  <a:alpha val="50000"/>
                </a:schemeClr>
              </a:gs>
              <a:gs pos="100000">
                <a:schemeClr val="accent1">
                  <a:alpha val="65000"/>
                </a:schemeClr>
              </a:gs>
            </a:gsLst>
            <a:lin ang="5400000" scaled="1"/>
          </a:gradFill>
        </a:ln>
      </dgm:spPr>
      <dgm:t>
        <a:bodyPr/>
        <a:lstStyle/>
        <a:p>
          <a:pPr rtl="0"/>
          <a:r>
            <a:rPr lang="en-US" sz="1200" dirty="0">
              <a:solidFill>
                <a:schemeClr val="bg1"/>
              </a:solidFill>
              <a:latin typeface="+mj-lt"/>
              <a:cs typeface="Dubai" panose="020B0503030403030204" pitchFamily="34" charset="-78"/>
            </a:rPr>
            <a:t>Multi-Page</a:t>
          </a:r>
        </a:p>
      </dgm:t>
    </dgm:pt>
    <dgm:pt modelId="{1E5BE778-2F03-447B-870F-7C7C558E2125}" type="parTrans" cxnId="{3E7DA384-BCBA-4A8A-B5B6-600DFBF8E768}">
      <dgm:prSet/>
      <dgm:spPr/>
      <dgm:t>
        <a:bodyPr/>
        <a:lstStyle/>
        <a:p>
          <a:pPr rtl="0"/>
          <a:endParaRPr lang="en-US"/>
        </a:p>
      </dgm:t>
    </dgm:pt>
    <dgm:pt modelId="{FE4917BF-3035-4683-A187-6B9C1B8AF4EE}" type="sibTrans" cxnId="{3E7DA384-BCBA-4A8A-B5B6-600DFBF8E768}">
      <dgm:prSet/>
      <dgm:spPr/>
      <dgm:t>
        <a:bodyPr/>
        <a:lstStyle/>
        <a:p>
          <a:pPr rtl="0"/>
          <a:endParaRPr lang="en-US"/>
        </a:p>
      </dgm:t>
    </dgm:pt>
    <dgm:pt modelId="{C3493F1B-566E-47ED-BBD5-D77107AA2F08}">
      <dgm:prSet phldrT="[Text]" custT="1"/>
      <dgm:spPr>
        <a:noFill/>
        <a:ln w="12700">
          <a:gradFill>
            <a:gsLst>
              <a:gs pos="0">
                <a:schemeClr val="accent3">
                  <a:alpha val="50000"/>
                </a:schemeClr>
              </a:gs>
              <a:gs pos="58000">
                <a:schemeClr val="accent2">
                  <a:alpha val="50000"/>
                </a:schemeClr>
              </a:gs>
              <a:gs pos="100000">
                <a:schemeClr val="accent1">
                  <a:alpha val="65000"/>
                </a:schemeClr>
              </a:gs>
            </a:gsLst>
            <a:lin ang="5400000" scaled="1"/>
          </a:gradFill>
        </a:ln>
      </dgm:spPr>
      <dgm:t>
        <a:bodyPr/>
        <a:lstStyle/>
        <a:p>
          <a:pPr rtl="0"/>
          <a:r>
            <a:rPr lang="en-US" sz="800" dirty="0">
              <a:solidFill>
                <a:schemeClr val="bg1"/>
              </a:solidFill>
              <a:latin typeface="+mj-lt"/>
              <a:cs typeface="Dubai" panose="020B0503030403030204" pitchFamily="34" charset="-78"/>
            </a:rPr>
            <a:t>Conversion</a:t>
          </a:r>
        </a:p>
      </dgm:t>
    </dgm:pt>
    <dgm:pt modelId="{4C7695C3-76B3-43F7-82FE-A4D4CC552C1A}" type="parTrans" cxnId="{D5ABEE0F-0E15-4C3D-B3A5-0269658B868B}">
      <dgm:prSet/>
      <dgm:spPr/>
      <dgm:t>
        <a:bodyPr/>
        <a:lstStyle/>
        <a:p>
          <a:pPr rtl="0"/>
          <a:endParaRPr lang="en-US"/>
        </a:p>
      </dgm:t>
    </dgm:pt>
    <dgm:pt modelId="{ED56E822-E35C-4729-B313-B5C8011777B1}" type="sibTrans" cxnId="{D5ABEE0F-0E15-4C3D-B3A5-0269658B868B}">
      <dgm:prSet/>
      <dgm:spPr/>
      <dgm:t>
        <a:bodyPr/>
        <a:lstStyle/>
        <a:p>
          <a:pPr rtl="0"/>
          <a:endParaRPr lang="en-US"/>
        </a:p>
      </dgm:t>
    </dgm:pt>
    <dgm:pt modelId="{AFAE9E91-40A0-43BA-95E5-0E09348E6B73}" type="pres">
      <dgm:prSet presAssocID="{B2E704E8-BF44-4CBC-AE85-D0E272EA51DE}" presName="Name0" presStyleCnt="0">
        <dgm:presLayoutVars>
          <dgm:chMax val="7"/>
          <dgm:resizeHandles val="exact"/>
        </dgm:presLayoutVars>
      </dgm:prSet>
      <dgm:spPr/>
    </dgm:pt>
    <dgm:pt modelId="{A1C9BAE9-47FF-44E6-ADAD-9A2B1487EB1F}" type="pres">
      <dgm:prSet presAssocID="{B2E704E8-BF44-4CBC-AE85-D0E272EA51DE}" presName="comp1" presStyleCnt="0"/>
      <dgm:spPr/>
    </dgm:pt>
    <dgm:pt modelId="{E9578D23-E4CA-460C-9F03-DFD4937FFC6B}" type="pres">
      <dgm:prSet presAssocID="{B2E704E8-BF44-4CBC-AE85-D0E272EA51DE}" presName="circle1" presStyleLbl="node1" presStyleIdx="0" presStyleCnt="4"/>
      <dgm:spPr/>
    </dgm:pt>
    <dgm:pt modelId="{ABEE62FC-8960-49B0-A2EF-8E48BC5690A9}" type="pres">
      <dgm:prSet presAssocID="{B2E704E8-BF44-4CBC-AE85-D0E272EA51DE}" presName="c1text" presStyleLbl="node1" presStyleIdx="0" presStyleCnt="4">
        <dgm:presLayoutVars>
          <dgm:bulletEnabled val="1"/>
        </dgm:presLayoutVars>
      </dgm:prSet>
      <dgm:spPr/>
    </dgm:pt>
    <dgm:pt modelId="{39326F89-2154-4D9A-B6EB-3D59BEDC7DBD}" type="pres">
      <dgm:prSet presAssocID="{B2E704E8-BF44-4CBC-AE85-D0E272EA51DE}" presName="comp2" presStyleCnt="0"/>
      <dgm:spPr/>
    </dgm:pt>
    <dgm:pt modelId="{71A714F8-BF97-41CD-BFA3-0B1D819FDDC3}" type="pres">
      <dgm:prSet presAssocID="{B2E704E8-BF44-4CBC-AE85-D0E272EA51DE}" presName="circle2" presStyleLbl="node1" presStyleIdx="1" presStyleCnt="4" custScaleX="75774" custScaleY="75774"/>
      <dgm:spPr/>
    </dgm:pt>
    <dgm:pt modelId="{104A8990-0522-4A4B-86B3-88D56D5D0AF2}" type="pres">
      <dgm:prSet presAssocID="{B2E704E8-BF44-4CBC-AE85-D0E272EA51DE}" presName="c2text" presStyleLbl="node1" presStyleIdx="1" presStyleCnt="4">
        <dgm:presLayoutVars>
          <dgm:bulletEnabled val="1"/>
        </dgm:presLayoutVars>
      </dgm:prSet>
      <dgm:spPr/>
    </dgm:pt>
    <dgm:pt modelId="{9D3DE31D-8159-437A-9FD7-16839D864A35}" type="pres">
      <dgm:prSet presAssocID="{B2E704E8-BF44-4CBC-AE85-D0E272EA51DE}" presName="comp3" presStyleCnt="0"/>
      <dgm:spPr/>
    </dgm:pt>
    <dgm:pt modelId="{AED24801-9CB8-4576-8EB2-C4964A5B9EE9}" type="pres">
      <dgm:prSet presAssocID="{B2E704E8-BF44-4CBC-AE85-D0E272EA51DE}" presName="circle3" presStyleLbl="node1" presStyleIdx="2" presStyleCnt="4" custScaleX="63201" custScaleY="63201"/>
      <dgm:spPr/>
    </dgm:pt>
    <dgm:pt modelId="{30EEB74B-DBD6-460B-A680-0184407E6B1D}" type="pres">
      <dgm:prSet presAssocID="{B2E704E8-BF44-4CBC-AE85-D0E272EA51DE}" presName="c3text" presStyleLbl="node1" presStyleIdx="2" presStyleCnt="4">
        <dgm:presLayoutVars>
          <dgm:bulletEnabled val="1"/>
        </dgm:presLayoutVars>
      </dgm:prSet>
      <dgm:spPr/>
    </dgm:pt>
    <dgm:pt modelId="{5739D912-9765-46E9-B4A2-8801A574CA68}" type="pres">
      <dgm:prSet presAssocID="{B2E704E8-BF44-4CBC-AE85-D0E272EA51DE}" presName="comp4" presStyleCnt="0"/>
      <dgm:spPr/>
    </dgm:pt>
    <dgm:pt modelId="{C3DF1F0E-3768-4D0E-B06B-9DCE7C3489F7}" type="pres">
      <dgm:prSet presAssocID="{B2E704E8-BF44-4CBC-AE85-D0E272EA51DE}" presName="circle4" presStyleLbl="node1" presStyleIdx="3" presStyleCnt="4" custScaleX="39580" custScaleY="39580"/>
      <dgm:spPr/>
    </dgm:pt>
    <dgm:pt modelId="{5B9F0B64-F82C-41C4-84B4-453A0867FB3D}" type="pres">
      <dgm:prSet presAssocID="{B2E704E8-BF44-4CBC-AE85-D0E272EA51DE}" presName="c4text" presStyleLbl="node1" presStyleIdx="3" presStyleCnt="4">
        <dgm:presLayoutVars>
          <dgm:bulletEnabled val="1"/>
        </dgm:presLayoutVars>
      </dgm:prSet>
      <dgm:spPr/>
    </dgm:pt>
  </dgm:ptLst>
  <dgm:cxnLst>
    <dgm:cxn modelId="{D5ABEE0F-0E15-4C3D-B3A5-0269658B868B}" srcId="{B2E704E8-BF44-4CBC-AE85-D0E272EA51DE}" destId="{C3493F1B-566E-47ED-BBD5-D77107AA2F08}" srcOrd="3" destOrd="0" parTransId="{4C7695C3-76B3-43F7-82FE-A4D4CC552C1A}" sibTransId="{ED56E822-E35C-4729-B313-B5C8011777B1}"/>
    <dgm:cxn modelId="{75F02742-9097-4FD1-B882-DC84997BBB94}" type="presOf" srcId="{36AC0D4F-A1AB-490E-AF24-6D8537F52619}" destId="{104A8990-0522-4A4B-86B3-88D56D5D0AF2}" srcOrd="1" destOrd="0" presId="urn:microsoft.com/office/officeart/2005/8/layout/venn2"/>
    <dgm:cxn modelId="{0E30FD4E-0ABC-4D7B-B02B-32613A4C98FF}" type="presOf" srcId="{C3493F1B-566E-47ED-BBD5-D77107AA2F08}" destId="{C3DF1F0E-3768-4D0E-B06B-9DCE7C3489F7}" srcOrd="0" destOrd="0" presId="urn:microsoft.com/office/officeart/2005/8/layout/venn2"/>
    <dgm:cxn modelId="{15D69155-AEE0-48AD-8A69-D09F4B549382}" type="presOf" srcId="{63FE7D5F-9FF2-4FEC-9EAB-7143DEF635D7}" destId="{30EEB74B-DBD6-460B-A680-0184407E6B1D}" srcOrd="1" destOrd="0" presId="urn:microsoft.com/office/officeart/2005/8/layout/venn2"/>
    <dgm:cxn modelId="{3E7DA384-BCBA-4A8A-B5B6-600DFBF8E768}" srcId="{B2E704E8-BF44-4CBC-AE85-D0E272EA51DE}" destId="{63FE7D5F-9FF2-4FEC-9EAB-7143DEF635D7}" srcOrd="2" destOrd="0" parTransId="{1E5BE778-2F03-447B-870F-7C7C558E2125}" sibTransId="{FE4917BF-3035-4683-A187-6B9C1B8AF4EE}"/>
    <dgm:cxn modelId="{E1B06C85-B040-449B-B89B-42AA110AF1EB}" type="presOf" srcId="{36AC0D4F-A1AB-490E-AF24-6D8537F52619}" destId="{71A714F8-BF97-41CD-BFA3-0B1D819FDDC3}" srcOrd="0" destOrd="0" presId="urn:microsoft.com/office/officeart/2005/8/layout/venn2"/>
    <dgm:cxn modelId="{4920308A-2D44-4FC5-938F-FB331412671A}" type="presOf" srcId="{C8129995-0A45-42CF-839E-003C80B550D7}" destId="{ABEE62FC-8960-49B0-A2EF-8E48BC5690A9}" srcOrd="1" destOrd="0" presId="urn:microsoft.com/office/officeart/2005/8/layout/venn2"/>
    <dgm:cxn modelId="{A7C5B88D-FCDE-4C2D-BF09-39C520335DD7}" type="presOf" srcId="{B2E704E8-BF44-4CBC-AE85-D0E272EA51DE}" destId="{AFAE9E91-40A0-43BA-95E5-0E09348E6B73}" srcOrd="0" destOrd="0" presId="urn:microsoft.com/office/officeart/2005/8/layout/venn2"/>
    <dgm:cxn modelId="{9252808F-61C9-4F6A-A89C-A24F38A9CB4C}" type="presOf" srcId="{C3493F1B-566E-47ED-BBD5-D77107AA2F08}" destId="{5B9F0B64-F82C-41C4-84B4-453A0867FB3D}" srcOrd="1" destOrd="0" presId="urn:microsoft.com/office/officeart/2005/8/layout/venn2"/>
    <dgm:cxn modelId="{16DA60BC-F87A-473C-9AB3-F411AF56C923}" srcId="{B2E704E8-BF44-4CBC-AE85-D0E272EA51DE}" destId="{C8129995-0A45-42CF-839E-003C80B550D7}" srcOrd="0" destOrd="0" parTransId="{75D528C1-4FA6-426A-B569-6427802E364C}" sibTransId="{E433FFAB-136E-433B-BAC1-0F205B0B2F39}"/>
    <dgm:cxn modelId="{D0FD75D7-9E3D-454E-A182-D926367FC5FE}" type="presOf" srcId="{C8129995-0A45-42CF-839E-003C80B550D7}" destId="{E9578D23-E4CA-460C-9F03-DFD4937FFC6B}" srcOrd="0" destOrd="0" presId="urn:microsoft.com/office/officeart/2005/8/layout/venn2"/>
    <dgm:cxn modelId="{D9D9C6F0-99FB-4513-B7B9-F119D3881F7D}" type="presOf" srcId="{63FE7D5F-9FF2-4FEC-9EAB-7143DEF635D7}" destId="{AED24801-9CB8-4576-8EB2-C4964A5B9EE9}" srcOrd="0" destOrd="0" presId="urn:microsoft.com/office/officeart/2005/8/layout/venn2"/>
    <dgm:cxn modelId="{640E03F2-9A37-44C1-A10A-5D0294768999}" srcId="{B2E704E8-BF44-4CBC-AE85-D0E272EA51DE}" destId="{36AC0D4F-A1AB-490E-AF24-6D8537F52619}" srcOrd="1" destOrd="0" parTransId="{5DB74079-276A-48C0-A50A-CB17463EE7E7}" sibTransId="{B652C774-F379-4B3A-9904-B42593E4D774}"/>
    <dgm:cxn modelId="{C4B910F0-0560-40DF-82D5-5AFAADD50AE9}" type="presParOf" srcId="{AFAE9E91-40A0-43BA-95E5-0E09348E6B73}" destId="{A1C9BAE9-47FF-44E6-ADAD-9A2B1487EB1F}" srcOrd="0" destOrd="0" presId="urn:microsoft.com/office/officeart/2005/8/layout/venn2"/>
    <dgm:cxn modelId="{69B127E8-2C8C-4736-BB14-47302850EE1A}" type="presParOf" srcId="{A1C9BAE9-47FF-44E6-ADAD-9A2B1487EB1F}" destId="{E9578D23-E4CA-460C-9F03-DFD4937FFC6B}" srcOrd="0" destOrd="0" presId="urn:microsoft.com/office/officeart/2005/8/layout/venn2"/>
    <dgm:cxn modelId="{C705A80A-DAF8-4DCD-BC38-67C349748734}" type="presParOf" srcId="{A1C9BAE9-47FF-44E6-ADAD-9A2B1487EB1F}" destId="{ABEE62FC-8960-49B0-A2EF-8E48BC5690A9}" srcOrd="1" destOrd="0" presId="urn:microsoft.com/office/officeart/2005/8/layout/venn2"/>
    <dgm:cxn modelId="{153D33D9-B051-44CA-B5B3-6DEDA1E3371E}" type="presParOf" srcId="{AFAE9E91-40A0-43BA-95E5-0E09348E6B73}" destId="{39326F89-2154-4D9A-B6EB-3D59BEDC7DBD}" srcOrd="1" destOrd="0" presId="urn:microsoft.com/office/officeart/2005/8/layout/venn2"/>
    <dgm:cxn modelId="{5B18897D-8286-417C-B6A6-E44C1CFFABDD}" type="presParOf" srcId="{39326F89-2154-4D9A-B6EB-3D59BEDC7DBD}" destId="{71A714F8-BF97-41CD-BFA3-0B1D819FDDC3}" srcOrd="0" destOrd="0" presId="urn:microsoft.com/office/officeart/2005/8/layout/venn2"/>
    <dgm:cxn modelId="{7CA99161-187C-4FA6-974D-6B264F0851D3}" type="presParOf" srcId="{39326F89-2154-4D9A-B6EB-3D59BEDC7DBD}" destId="{104A8990-0522-4A4B-86B3-88D56D5D0AF2}" srcOrd="1" destOrd="0" presId="urn:microsoft.com/office/officeart/2005/8/layout/venn2"/>
    <dgm:cxn modelId="{D11F8D2F-A789-4B0D-96A8-B54CD272144F}" type="presParOf" srcId="{AFAE9E91-40A0-43BA-95E5-0E09348E6B73}" destId="{9D3DE31D-8159-437A-9FD7-16839D864A35}" srcOrd="2" destOrd="0" presId="urn:microsoft.com/office/officeart/2005/8/layout/venn2"/>
    <dgm:cxn modelId="{823E8F9E-87CC-439B-9AD5-5A1C77A7FFEB}" type="presParOf" srcId="{9D3DE31D-8159-437A-9FD7-16839D864A35}" destId="{AED24801-9CB8-4576-8EB2-C4964A5B9EE9}" srcOrd="0" destOrd="0" presId="urn:microsoft.com/office/officeart/2005/8/layout/venn2"/>
    <dgm:cxn modelId="{6636146D-D685-47F4-A610-FA6F9990ACDD}" type="presParOf" srcId="{9D3DE31D-8159-437A-9FD7-16839D864A35}" destId="{30EEB74B-DBD6-460B-A680-0184407E6B1D}" srcOrd="1" destOrd="0" presId="urn:microsoft.com/office/officeart/2005/8/layout/venn2"/>
    <dgm:cxn modelId="{316CA966-FD2F-4012-8BC5-B949C8BFCE06}" type="presParOf" srcId="{AFAE9E91-40A0-43BA-95E5-0E09348E6B73}" destId="{5739D912-9765-46E9-B4A2-8801A574CA68}" srcOrd="3" destOrd="0" presId="urn:microsoft.com/office/officeart/2005/8/layout/venn2"/>
    <dgm:cxn modelId="{CD519206-68CA-4776-9D34-214FA58ED687}" type="presParOf" srcId="{5739D912-9765-46E9-B4A2-8801A574CA68}" destId="{C3DF1F0E-3768-4D0E-B06B-9DCE7C3489F7}" srcOrd="0" destOrd="0" presId="urn:microsoft.com/office/officeart/2005/8/layout/venn2"/>
    <dgm:cxn modelId="{D9D6EE69-910F-4358-B6EE-39569A4CE3C3}" type="presParOf" srcId="{5739D912-9765-46E9-B4A2-8801A574CA68}" destId="{5B9F0B64-F82C-41C4-84B4-453A0867FB3D}" srcOrd="1" destOrd="0" presId="urn:microsoft.com/office/officeart/2005/8/layout/venn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78D23-E4CA-460C-9F03-DFD4937FFC6B}">
      <dsp:nvSpPr>
        <dsp:cNvPr id="0" name=""/>
        <dsp:cNvSpPr/>
      </dsp:nvSpPr>
      <dsp:spPr>
        <a:xfrm>
          <a:off x="1586845" y="0"/>
          <a:ext cx="6347382" cy="6347382"/>
        </a:xfrm>
        <a:prstGeom prst="ellipse">
          <a:avLst/>
        </a:prstGeom>
        <a:noFill/>
        <a:ln w="114300" cap="flat" cmpd="sng" algn="ctr">
          <a:gradFill>
            <a:gsLst>
              <a:gs pos="0">
                <a:schemeClr val="accent3">
                  <a:alpha val="5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kern="1200" dirty="0">
              <a:solidFill>
                <a:schemeClr val="bg1"/>
              </a:solidFill>
              <a:latin typeface="+mj-lt"/>
              <a:cs typeface="Dubai" panose="020B0503030403030204" pitchFamily="34" charset="-78"/>
            </a:rPr>
            <a:t>Publicity</a:t>
          </a:r>
        </a:p>
      </dsp:txBody>
      <dsp:txXfrm>
        <a:off x="3873171" y="317369"/>
        <a:ext cx="1774728" cy="952107"/>
      </dsp:txXfrm>
    </dsp:sp>
    <dsp:sp modelId="{71A714F8-BF97-41CD-BFA3-0B1D819FDDC3}">
      <dsp:nvSpPr>
        <dsp:cNvPr id="0" name=""/>
        <dsp:cNvSpPr/>
      </dsp:nvSpPr>
      <dsp:spPr>
        <a:xfrm>
          <a:off x="2836669" y="1884563"/>
          <a:ext cx="3847732" cy="3847732"/>
        </a:xfrm>
        <a:prstGeom prst="ellipse">
          <a:avLst/>
        </a:prstGeom>
        <a:noFill/>
        <a:ln w="76200" cap="flat" cmpd="sng" algn="ctr">
          <a:gradFill>
            <a:gsLst>
              <a:gs pos="58000">
                <a:srgbClr val="2B2D78">
                  <a:alpha val="50000"/>
                </a:srgbClr>
              </a:gs>
              <a:gs pos="0">
                <a:schemeClr val="accent3">
                  <a:alpha val="4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kern="1200" dirty="0">
              <a:solidFill>
                <a:prstClr val="white"/>
              </a:solidFill>
              <a:latin typeface="+mj-lt"/>
              <a:ea typeface="맑은 고딕"/>
              <a:cs typeface="Dubai" panose="020B0503030403030204" pitchFamily="34" charset="-78"/>
            </a:rPr>
            <a:t>Traffic</a:t>
          </a:r>
        </a:p>
      </dsp:txBody>
      <dsp:txXfrm>
        <a:off x="4088144" y="2115427"/>
        <a:ext cx="1344782" cy="692591"/>
      </dsp:txXfrm>
    </dsp:sp>
    <dsp:sp modelId="{AED24801-9CB8-4576-8EB2-C4964A5B9EE9}">
      <dsp:nvSpPr>
        <dsp:cNvPr id="0" name=""/>
        <dsp:cNvSpPr/>
      </dsp:nvSpPr>
      <dsp:spPr>
        <a:xfrm>
          <a:off x="3557053" y="3239684"/>
          <a:ext cx="2406965" cy="2406965"/>
        </a:xfrm>
        <a:prstGeom prst="ellipse">
          <a:avLst/>
        </a:prstGeom>
        <a:noFill/>
        <a:ln w="38100" cap="flat" cmpd="sng" algn="ctr">
          <a:gradFill>
            <a:gsLst>
              <a:gs pos="0">
                <a:schemeClr val="accent3">
                  <a:alpha val="4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rtl="0">
            <a:lnSpc>
              <a:spcPct val="90000"/>
            </a:lnSpc>
            <a:spcBef>
              <a:spcPct val="0"/>
            </a:spcBef>
            <a:spcAft>
              <a:spcPct val="35000"/>
            </a:spcAft>
            <a:buNone/>
          </a:pPr>
          <a:r>
            <a:rPr lang="en-US" sz="1200" kern="1200" dirty="0">
              <a:solidFill>
                <a:schemeClr val="bg1"/>
              </a:solidFill>
              <a:latin typeface="+mj-lt"/>
              <a:cs typeface="Dubai" panose="020B0503030403030204" pitchFamily="34" charset="-78"/>
            </a:rPr>
            <a:t>Multi-Page</a:t>
          </a:r>
        </a:p>
      </dsp:txBody>
      <dsp:txXfrm>
        <a:off x="4199713" y="3420207"/>
        <a:ext cx="1121645" cy="541567"/>
      </dsp:txXfrm>
    </dsp:sp>
    <dsp:sp modelId="{C3DF1F0E-3768-4D0E-B06B-9DCE7C3489F7}">
      <dsp:nvSpPr>
        <dsp:cNvPr id="0" name=""/>
        <dsp:cNvSpPr/>
      </dsp:nvSpPr>
      <dsp:spPr>
        <a:xfrm>
          <a:off x="4258077" y="4575446"/>
          <a:ext cx="1004917" cy="1004917"/>
        </a:xfrm>
        <a:prstGeom prst="ellipse">
          <a:avLst/>
        </a:prstGeom>
        <a:noFill/>
        <a:ln w="12700" cap="flat" cmpd="sng" algn="ctr">
          <a:gradFill>
            <a:gsLst>
              <a:gs pos="0">
                <a:schemeClr val="accent3">
                  <a:alpha val="5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rtl="0">
            <a:lnSpc>
              <a:spcPct val="90000"/>
            </a:lnSpc>
            <a:spcBef>
              <a:spcPct val="0"/>
            </a:spcBef>
            <a:spcAft>
              <a:spcPct val="35000"/>
            </a:spcAft>
            <a:buNone/>
          </a:pPr>
          <a:r>
            <a:rPr lang="en-US" sz="800" kern="1200" dirty="0">
              <a:solidFill>
                <a:schemeClr val="bg1"/>
              </a:solidFill>
              <a:latin typeface="+mj-lt"/>
              <a:cs typeface="Dubai" panose="020B0503030403030204" pitchFamily="34" charset="-78"/>
            </a:rPr>
            <a:t>Conversion</a:t>
          </a:r>
        </a:p>
      </dsp:txBody>
      <dsp:txXfrm>
        <a:off x="4405244" y="4826676"/>
        <a:ext cx="710583" cy="50245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578D23-E4CA-460C-9F03-DFD4937FFC6B}">
      <dsp:nvSpPr>
        <dsp:cNvPr id="0" name=""/>
        <dsp:cNvSpPr/>
      </dsp:nvSpPr>
      <dsp:spPr>
        <a:xfrm>
          <a:off x="1586845" y="0"/>
          <a:ext cx="6347382" cy="6347382"/>
        </a:xfrm>
        <a:prstGeom prst="ellipse">
          <a:avLst/>
        </a:prstGeom>
        <a:noFill/>
        <a:ln w="114300" cap="flat" cmpd="sng" algn="ctr">
          <a:gradFill>
            <a:gsLst>
              <a:gs pos="0">
                <a:schemeClr val="accent3">
                  <a:alpha val="5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kern="1200" dirty="0">
              <a:solidFill>
                <a:schemeClr val="bg1"/>
              </a:solidFill>
              <a:latin typeface="+mj-lt"/>
              <a:cs typeface="Dubai" panose="020B0503030403030204" pitchFamily="34" charset="-78"/>
            </a:rPr>
            <a:t>Publicity</a:t>
          </a:r>
        </a:p>
      </dsp:txBody>
      <dsp:txXfrm>
        <a:off x="3873171" y="317369"/>
        <a:ext cx="1774728" cy="952107"/>
      </dsp:txXfrm>
    </dsp:sp>
    <dsp:sp modelId="{71A714F8-BF97-41CD-BFA3-0B1D819FDDC3}">
      <dsp:nvSpPr>
        <dsp:cNvPr id="0" name=""/>
        <dsp:cNvSpPr/>
      </dsp:nvSpPr>
      <dsp:spPr>
        <a:xfrm>
          <a:off x="2836669" y="1884563"/>
          <a:ext cx="3847732" cy="3847732"/>
        </a:xfrm>
        <a:prstGeom prst="ellipse">
          <a:avLst/>
        </a:prstGeom>
        <a:noFill/>
        <a:ln w="76200" cap="flat" cmpd="sng" algn="ctr">
          <a:gradFill>
            <a:gsLst>
              <a:gs pos="58000">
                <a:schemeClr val="accent2">
                  <a:alpha val="50000"/>
                </a:schemeClr>
              </a:gs>
              <a:gs pos="0">
                <a:schemeClr val="accent3">
                  <a:alpha val="4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rtl="0">
            <a:lnSpc>
              <a:spcPct val="90000"/>
            </a:lnSpc>
            <a:spcBef>
              <a:spcPct val="0"/>
            </a:spcBef>
            <a:spcAft>
              <a:spcPct val="35000"/>
            </a:spcAft>
            <a:buNone/>
          </a:pPr>
          <a:r>
            <a:rPr lang="en-US" sz="2000" kern="1200" dirty="0">
              <a:solidFill>
                <a:prstClr val="white"/>
              </a:solidFill>
              <a:latin typeface="+mj-lt"/>
              <a:ea typeface="맑은 고딕"/>
              <a:cs typeface="Dubai" panose="020B0503030403030204" pitchFamily="34" charset="-78"/>
            </a:rPr>
            <a:t>Traffic</a:t>
          </a:r>
        </a:p>
      </dsp:txBody>
      <dsp:txXfrm>
        <a:off x="4088144" y="2115427"/>
        <a:ext cx="1344782" cy="692591"/>
      </dsp:txXfrm>
    </dsp:sp>
    <dsp:sp modelId="{AED24801-9CB8-4576-8EB2-C4964A5B9EE9}">
      <dsp:nvSpPr>
        <dsp:cNvPr id="0" name=""/>
        <dsp:cNvSpPr/>
      </dsp:nvSpPr>
      <dsp:spPr>
        <a:xfrm>
          <a:off x="3557053" y="3239684"/>
          <a:ext cx="2406965" cy="2406965"/>
        </a:xfrm>
        <a:prstGeom prst="ellipse">
          <a:avLst/>
        </a:prstGeom>
        <a:noFill/>
        <a:ln w="38100" cap="flat" cmpd="sng" algn="ctr">
          <a:gradFill>
            <a:gsLst>
              <a:gs pos="0">
                <a:schemeClr val="accent3">
                  <a:alpha val="4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85344" rIns="85344" bIns="85344" numCol="1" spcCol="1270" anchor="ctr" anchorCtr="0">
          <a:noAutofit/>
        </a:bodyPr>
        <a:lstStyle/>
        <a:p>
          <a:pPr marL="0" lvl="0" indent="0" algn="ctr" defTabSz="533400" rtl="0">
            <a:lnSpc>
              <a:spcPct val="90000"/>
            </a:lnSpc>
            <a:spcBef>
              <a:spcPct val="0"/>
            </a:spcBef>
            <a:spcAft>
              <a:spcPct val="35000"/>
            </a:spcAft>
            <a:buNone/>
          </a:pPr>
          <a:r>
            <a:rPr lang="en-US" sz="1200" kern="1200" dirty="0">
              <a:solidFill>
                <a:schemeClr val="bg1"/>
              </a:solidFill>
              <a:latin typeface="+mj-lt"/>
              <a:cs typeface="Dubai" panose="020B0503030403030204" pitchFamily="34" charset="-78"/>
            </a:rPr>
            <a:t>Multi-Page</a:t>
          </a:r>
        </a:p>
      </dsp:txBody>
      <dsp:txXfrm>
        <a:off x="4199713" y="3420207"/>
        <a:ext cx="1121645" cy="541567"/>
      </dsp:txXfrm>
    </dsp:sp>
    <dsp:sp modelId="{C3DF1F0E-3768-4D0E-B06B-9DCE7C3489F7}">
      <dsp:nvSpPr>
        <dsp:cNvPr id="0" name=""/>
        <dsp:cNvSpPr/>
      </dsp:nvSpPr>
      <dsp:spPr>
        <a:xfrm>
          <a:off x="4258077" y="4575446"/>
          <a:ext cx="1004917" cy="1004917"/>
        </a:xfrm>
        <a:prstGeom prst="ellipse">
          <a:avLst/>
        </a:prstGeom>
        <a:noFill/>
        <a:ln w="12700" cap="flat" cmpd="sng" algn="ctr">
          <a:gradFill>
            <a:gsLst>
              <a:gs pos="0">
                <a:schemeClr val="accent3">
                  <a:alpha val="50000"/>
                </a:schemeClr>
              </a:gs>
              <a:gs pos="58000">
                <a:schemeClr val="accent2">
                  <a:alpha val="50000"/>
                </a:schemeClr>
              </a:gs>
              <a:gs pos="100000">
                <a:schemeClr val="accent1">
                  <a:alpha val="65000"/>
                </a:schemeClr>
              </a:gs>
            </a:gsLst>
            <a:lin ang="5400000" scaled="1"/>
          </a:gra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6896" tIns="56896" rIns="56896" bIns="56896" numCol="1" spcCol="1270" anchor="ctr" anchorCtr="0">
          <a:noAutofit/>
        </a:bodyPr>
        <a:lstStyle/>
        <a:p>
          <a:pPr marL="0" lvl="0" indent="0" algn="ctr" defTabSz="355600" rtl="0">
            <a:lnSpc>
              <a:spcPct val="90000"/>
            </a:lnSpc>
            <a:spcBef>
              <a:spcPct val="0"/>
            </a:spcBef>
            <a:spcAft>
              <a:spcPct val="35000"/>
            </a:spcAft>
            <a:buNone/>
          </a:pPr>
          <a:r>
            <a:rPr lang="en-US" sz="800" kern="1200" dirty="0">
              <a:solidFill>
                <a:schemeClr val="bg1"/>
              </a:solidFill>
              <a:latin typeface="+mj-lt"/>
              <a:cs typeface="Dubai" panose="020B0503030403030204" pitchFamily="34" charset="-78"/>
            </a:rPr>
            <a:t>Conversion</a:t>
          </a:r>
        </a:p>
      </dsp:txBody>
      <dsp:txXfrm>
        <a:off x="4405244" y="4826676"/>
        <a:ext cx="710583" cy="502458"/>
      </dsp:txXfrm>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4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4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50.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5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59.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63.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68.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7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7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7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80.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8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65.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89.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9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94.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9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39.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4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9.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3.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8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83.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90.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1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1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2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2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2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15.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33.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3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35.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3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39.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4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4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4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9471867-C927-4B4F-B397-99FF85839A68}" type="datetimeFigureOut">
              <a:rPr lang="ko-KR" altLang="en-US" smtClean="0"/>
              <a:t>2021. 10. 3.</a:t>
            </a:fld>
            <a:endParaRPr lang="ko-KR" altLang="en-US"/>
          </a:p>
        </p:txBody>
      </p:sp>
      <p:sp>
        <p:nvSpPr>
          <p:cNvPr id="4" name="바닥글 개체 틀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5" name="슬라이드 번호 개체 틀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B67B12-5711-4EE1-A482-D3B53B1C516F}" type="slidenum">
              <a:rPr lang="ko-KR" altLang="en-US" smtClean="0"/>
              <a:t>‹#›</a:t>
            </a:fld>
            <a:endParaRPr lang="ko-KR" altLang="en-US"/>
          </a:p>
        </p:txBody>
      </p:sp>
    </p:spTree>
    <p:extLst>
      <p:ext uri="{BB962C8B-B14F-4D97-AF65-F5344CB8AC3E}">
        <p14:creationId xmlns:p14="http://schemas.microsoft.com/office/powerpoint/2010/main" val="208543773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C6A885-0CC5-3146-AE4F-174291A61065}" type="datetimeFigureOut">
              <a:rPr lang="en-US" smtClean="0"/>
              <a:t>10/3/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AF3846-31A9-3149-92F5-6C323F3AC954}" type="slidenum">
              <a:rPr lang="en-US" smtClean="0"/>
              <a:t>‹#›</a:t>
            </a:fld>
            <a:endParaRPr lang="en-US"/>
          </a:p>
        </p:txBody>
      </p:sp>
    </p:spTree>
    <p:extLst>
      <p:ext uri="{BB962C8B-B14F-4D97-AF65-F5344CB8AC3E}">
        <p14:creationId xmlns:p14="http://schemas.microsoft.com/office/powerpoint/2010/main" val="173866862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https://blog.gaborcselle.com/2012/10/every-step-costs-you-20-of-users.html" TargetMode="External"/><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https://www.burstiq.com/" TargetMode="External"/><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https://discover.dhl.com/business/productivity/blockchain-the-future-of-digital-retail.html" TargetMode="External"/><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ly hands </a:t>
            </a:r>
            <a:r>
              <a:rPr lang="en-US" dirty="0" err="1"/>
              <a:t>entrested</a:t>
            </a:r>
            <a:r>
              <a:rPr lang="en-US" dirty="0"/>
              <a:t> upon the </a:t>
            </a:r>
            <a:r>
              <a:rPr lang="en-US" dirty="0" err="1"/>
              <a:t>liscence</a:t>
            </a:r>
            <a:r>
              <a:rPr lang="en-US" dirty="0"/>
              <a:t> to printing money</a:t>
            </a:r>
          </a:p>
          <a:p>
            <a:r>
              <a:rPr lang="en-US" dirty="0"/>
              <a:t>And he just found the printer</a:t>
            </a:r>
          </a:p>
          <a:p>
            <a:endParaRPr lang="en-US" dirty="0"/>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Not sharing your idea with others to </a:t>
            </a:r>
            <a:r>
              <a:rPr lang="en-US" altLang="ko-KR" dirty="0" err="1">
                <a:solidFill>
                  <a:schemeClr val="bg1">
                    <a:lumMod val="95000"/>
                  </a:schemeClr>
                </a:solidFill>
                <a:ea typeface="맑은 고딕" panose="020B0503020000020004" pitchFamily="50" charset="-127"/>
                <a:cs typeface="Calibri" panose="020F0502020204030204" pitchFamily="34" charset="0"/>
              </a:rPr>
              <a:t>undersand</a:t>
            </a:r>
            <a:r>
              <a:rPr lang="en-US" altLang="ko-KR" dirty="0">
                <a:solidFill>
                  <a:schemeClr val="bg1">
                    <a:lumMod val="95000"/>
                  </a:schemeClr>
                </a:solidFill>
                <a:ea typeface="맑은 고딕" panose="020B0503020000020004" pitchFamily="50" charset="-127"/>
                <a:cs typeface="Calibri" panose="020F0502020204030204" pitchFamily="34" charset="0"/>
              </a:rPr>
              <a:t> the market need, weather or not they like the idea?</a:t>
            </a:r>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Is it a pain?</a:t>
            </a:r>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They will share things to improve your idea</a:t>
            </a:r>
          </a:p>
          <a:p>
            <a:pPr algn="ctr">
              <a:lnSpc>
                <a:spcPct val="110000"/>
              </a:lnSpc>
            </a:pPr>
            <a:endParaRPr lang="en-US" altLang="ko-KR" dirty="0">
              <a:solidFill>
                <a:schemeClr val="bg1">
                  <a:lumMod val="95000"/>
                </a:schemeClr>
              </a:solidFill>
              <a:ea typeface="맑은 고딕" panose="020B0503020000020004" pitchFamily="50" charset="-127"/>
              <a:cs typeface="Calibri" panose="020F0502020204030204" pitchFamily="34" charset="0"/>
            </a:endParaRPr>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Tell you about experiences of similar projects that failed and no one knew about</a:t>
            </a:r>
          </a:p>
          <a:p>
            <a:endParaRPr lang="en-US" dirty="0"/>
          </a:p>
          <a:p>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rPr>
              <a:t>Up to 100 million new businesses open doors around the world each year. It is extremely unlikely that someone has not thought of or tried something at least remotely related to your new idea.</a:t>
            </a:r>
          </a:p>
          <a:p>
            <a:endParaRPr lang="en-US" dirty="0"/>
          </a:p>
          <a:p>
            <a:endParaRPr lang="en-US" dirty="0"/>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Expecting things will go very smoothly and a happily-ever after</a:t>
            </a:r>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Being a legal entity… </a:t>
            </a:r>
            <a:r>
              <a:rPr lang="en-US" altLang="ko-KR" dirty="0" err="1">
                <a:solidFill>
                  <a:schemeClr val="bg1">
                    <a:lumMod val="95000"/>
                  </a:schemeClr>
                </a:solidFill>
                <a:ea typeface="맑은 고딕" panose="020B0503020000020004" pitchFamily="50" charset="-127"/>
                <a:cs typeface="Calibri" panose="020F0502020204030204" pitchFamily="34" charset="0"/>
              </a:rPr>
              <a:t>etc</a:t>
            </a:r>
            <a:endParaRPr lang="en-US" altLang="ko-KR" dirty="0">
              <a:solidFill>
                <a:schemeClr val="bg1">
                  <a:lumMod val="95000"/>
                </a:schemeClr>
              </a:solidFill>
              <a:ea typeface="맑은 고딕" panose="020B0503020000020004" pitchFamily="50" charset="-127"/>
              <a:cs typeface="Calibri" panose="020F0502020204030204" pitchFamily="34" charset="0"/>
            </a:endParaRPr>
          </a:p>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You should be optimistic, but also realistic</a:t>
            </a:r>
          </a:p>
          <a:p>
            <a:endParaRPr lang="en-US" dirty="0"/>
          </a:p>
          <a:p>
            <a:endParaRPr lang="en-US" dirty="0"/>
          </a:p>
          <a:p>
            <a:endParaRPr lang="en-US" dirty="0"/>
          </a:p>
          <a:p>
            <a:r>
              <a:rPr lang="en-US" dirty="0">
                <a:solidFill>
                  <a:schemeClr val="bg1"/>
                </a:solidFill>
              </a:rPr>
              <a:t>Outcompeted is for sure a reason</a:t>
            </a:r>
          </a:p>
          <a:p>
            <a:r>
              <a:rPr lang="en-US" dirty="0">
                <a:solidFill>
                  <a:schemeClr val="bg1"/>
                </a:solidFill>
              </a:rPr>
              <a:t>but ”No market need” is a bigger concern and you should worry more about it</a:t>
            </a:r>
          </a:p>
          <a:p>
            <a:r>
              <a:rPr lang="en-US" dirty="0">
                <a:solidFill>
                  <a:schemeClr val="bg1"/>
                </a:solidFill>
              </a:rPr>
              <a:t>In fact, if you have confidence in your business/team and your passion and your know-how</a:t>
            </a:r>
          </a:p>
          <a:p>
            <a:r>
              <a:rPr lang="en-US" dirty="0">
                <a:solidFill>
                  <a:schemeClr val="bg1"/>
                </a:solidFill>
              </a:rPr>
              <a:t>Chances are, you’re the one crushing others.</a:t>
            </a:r>
          </a:p>
          <a:p>
            <a:endParaRPr lang="en-US" dirty="0"/>
          </a:p>
          <a:p>
            <a:endParaRPr lang="en-US" dirty="0"/>
          </a:p>
          <a:p>
            <a:r>
              <a:rPr lang="en-US" dirty="0">
                <a:solidFill>
                  <a:schemeClr val="bg1"/>
                </a:solidFill>
                <a:latin typeface="Georgia" panose="02040502050405020303" pitchFamily="18" charset="0"/>
              </a:rPr>
              <a:t>zero-sum-game</a:t>
            </a:r>
          </a:p>
          <a:p>
            <a:endParaRPr lang="en-US" dirty="0">
              <a:solidFill>
                <a:schemeClr val="bg1"/>
              </a:solidFill>
              <a:latin typeface="Georgia" panose="02040502050405020303" pitchFamily="18" charset="0"/>
            </a:endParaRPr>
          </a:p>
          <a:p>
            <a:r>
              <a:rPr lang="en-US" dirty="0">
                <a:solidFill>
                  <a:schemeClr val="bg1"/>
                </a:solidFill>
                <a:latin typeface="Georgia" panose="02040502050405020303" pitchFamily="18" charset="0"/>
              </a:rPr>
              <a:t>Because of </a:t>
            </a:r>
            <a:r>
              <a:rPr lang="en-US" dirty="0" err="1">
                <a:solidFill>
                  <a:schemeClr val="bg1"/>
                </a:solidFill>
                <a:latin typeface="Georgia" panose="02040502050405020303" pitchFamily="18" charset="0"/>
              </a:rPr>
              <a:t>diffreneciation</a:t>
            </a:r>
            <a:r>
              <a:rPr lang="en-US" dirty="0">
                <a:solidFill>
                  <a:schemeClr val="bg1"/>
                </a:solidFill>
                <a:latin typeface="Georgia" panose="02040502050405020303" pitchFamily="18" charset="0"/>
              </a:rPr>
              <a:t> of your </a:t>
            </a:r>
            <a:r>
              <a:rPr lang="en-US" dirty="0" err="1">
                <a:solidFill>
                  <a:schemeClr val="bg1"/>
                </a:solidFill>
                <a:latin typeface="Georgia" panose="02040502050405020303" pitchFamily="18" charset="0"/>
              </a:rPr>
              <a:t>solotion</a:t>
            </a:r>
            <a:r>
              <a:rPr lang="en-US" dirty="0">
                <a:solidFill>
                  <a:schemeClr val="bg1"/>
                </a:solidFill>
                <a:latin typeface="Georgia" panose="02040502050405020303" pitchFamily="18" charset="0"/>
              </a:rPr>
              <a:t> to the problem and current offerings.</a:t>
            </a:r>
          </a:p>
          <a:p>
            <a:endParaRPr lang="en-US" dirty="0">
              <a:solidFill>
                <a:schemeClr val="bg1"/>
              </a:solidFill>
              <a:latin typeface="Georgia" panose="02040502050405020303"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Georgia" panose="02040502050405020303" pitchFamily="18" charset="0"/>
              </a:rPr>
              <a:t>In this quote by Paul Graham “ignoring users” could be interpreted as the company failing to adjust to the needs and wants of its target market, and in doing so offering something that customers are not interested in.</a:t>
            </a:r>
          </a:p>
          <a:p>
            <a:endParaRPr lang="en-US" dirty="0">
              <a:solidFill>
                <a:schemeClr val="bg1"/>
              </a:solidFill>
            </a:endParaRPr>
          </a:p>
          <a:p>
            <a:endParaRPr lang="en-US" dirty="0"/>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1</a:t>
            </a:fld>
            <a:endParaRPr lang="en-US"/>
          </a:p>
        </p:txBody>
      </p:sp>
    </p:spTree>
    <p:extLst>
      <p:ext uri="{BB962C8B-B14F-4D97-AF65-F5344CB8AC3E}">
        <p14:creationId xmlns:p14="http://schemas.microsoft.com/office/powerpoint/2010/main" val="2213200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0</a:t>
            </a:fld>
            <a:endParaRPr lang="en-US"/>
          </a:p>
        </p:txBody>
      </p:sp>
    </p:spTree>
    <p:extLst>
      <p:ext uri="{BB962C8B-B14F-4D97-AF65-F5344CB8AC3E}">
        <p14:creationId xmlns:p14="http://schemas.microsoft.com/office/powerpoint/2010/main" val="1980518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1</a:t>
            </a:fld>
            <a:endParaRPr lang="en-US"/>
          </a:p>
        </p:txBody>
      </p:sp>
    </p:spTree>
    <p:extLst>
      <p:ext uri="{BB962C8B-B14F-4D97-AF65-F5344CB8AC3E}">
        <p14:creationId xmlns:p14="http://schemas.microsoft.com/office/powerpoint/2010/main" val="2079763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2</a:t>
            </a:fld>
            <a:endParaRPr lang="en-US"/>
          </a:p>
        </p:txBody>
      </p:sp>
    </p:spTree>
    <p:extLst>
      <p:ext uri="{BB962C8B-B14F-4D97-AF65-F5344CB8AC3E}">
        <p14:creationId xmlns:p14="http://schemas.microsoft.com/office/powerpoint/2010/main" val="13315593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3</a:t>
            </a:fld>
            <a:endParaRPr lang="en-US"/>
          </a:p>
        </p:txBody>
      </p:sp>
    </p:spTree>
    <p:extLst>
      <p:ext uri="{BB962C8B-B14F-4D97-AF65-F5344CB8AC3E}">
        <p14:creationId xmlns:p14="http://schemas.microsoft.com/office/powerpoint/2010/main" val="4472798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4</a:t>
            </a:fld>
            <a:endParaRPr lang="en-US"/>
          </a:p>
        </p:txBody>
      </p:sp>
    </p:spTree>
    <p:extLst>
      <p:ext uri="{BB962C8B-B14F-4D97-AF65-F5344CB8AC3E}">
        <p14:creationId xmlns:p14="http://schemas.microsoft.com/office/powerpoint/2010/main" val="392231359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5</a:t>
            </a:fld>
            <a:endParaRPr lang="en-US"/>
          </a:p>
        </p:txBody>
      </p:sp>
    </p:spTree>
    <p:extLst>
      <p:ext uri="{BB962C8B-B14F-4D97-AF65-F5344CB8AC3E}">
        <p14:creationId xmlns:p14="http://schemas.microsoft.com/office/powerpoint/2010/main" val="14534216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6</a:t>
            </a:fld>
            <a:endParaRPr lang="en-US"/>
          </a:p>
        </p:txBody>
      </p:sp>
    </p:spTree>
    <p:extLst>
      <p:ext uri="{BB962C8B-B14F-4D97-AF65-F5344CB8AC3E}">
        <p14:creationId xmlns:p14="http://schemas.microsoft.com/office/powerpoint/2010/main" val="40889683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7</a:t>
            </a:fld>
            <a:endParaRPr lang="en-US"/>
          </a:p>
        </p:txBody>
      </p:sp>
    </p:spTree>
    <p:extLst>
      <p:ext uri="{BB962C8B-B14F-4D97-AF65-F5344CB8AC3E}">
        <p14:creationId xmlns:p14="http://schemas.microsoft.com/office/powerpoint/2010/main" val="928487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8</a:t>
            </a:fld>
            <a:endParaRPr lang="en-US"/>
          </a:p>
        </p:txBody>
      </p:sp>
    </p:spTree>
    <p:extLst>
      <p:ext uri="{BB962C8B-B14F-4D97-AF65-F5344CB8AC3E}">
        <p14:creationId xmlns:p14="http://schemas.microsoft.com/office/powerpoint/2010/main" val="7064785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19</a:t>
            </a:fld>
            <a:endParaRPr lang="en-US"/>
          </a:p>
        </p:txBody>
      </p:sp>
    </p:spTree>
    <p:extLst>
      <p:ext uri="{BB962C8B-B14F-4D97-AF65-F5344CB8AC3E}">
        <p14:creationId xmlns:p14="http://schemas.microsoft.com/office/powerpoint/2010/main" val="2380494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1FAF3846-31A9-3149-92F5-6C323F3AC954}" type="slidenum">
              <a:rPr lang="en-US" smtClean="0"/>
              <a:t>2</a:t>
            </a:fld>
            <a:endParaRPr lang="en-US"/>
          </a:p>
        </p:txBody>
      </p:sp>
    </p:spTree>
    <p:extLst>
      <p:ext uri="{BB962C8B-B14F-4D97-AF65-F5344CB8AC3E}">
        <p14:creationId xmlns:p14="http://schemas.microsoft.com/office/powerpoint/2010/main" val="37854704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0</a:t>
            </a:fld>
            <a:endParaRPr lang="en-US"/>
          </a:p>
        </p:txBody>
      </p:sp>
    </p:spTree>
    <p:extLst>
      <p:ext uri="{BB962C8B-B14F-4D97-AF65-F5344CB8AC3E}">
        <p14:creationId xmlns:p14="http://schemas.microsoft.com/office/powerpoint/2010/main" val="147768592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21</a:t>
            </a:fld>
            <a:endParaRPr lang="en-US"/>
          </a:p>
        </p:txBody>
      </p:sp>
    </p:spTree>
    <p:extLst>
      <p:ext uri="{BB962C8B-B14F-4D97-AF65-F5344CB8AC3E}">
        <p14:creationId xmlns:p14="http://schemas.microsoft.com/office/powerpoint/2010/main" val="81833208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2</a:t>
            </a:fld>
            <a:endParaRPr lang="en-US"/>
          </a:p>
        </p:txBody>
      </p:sp>
    </p:spTree>
    <p:extLst>
      <p:ext uri="{BB962C8B-B14F-4D97-AF65-F5344CB8AC3E}">
        <p14:creationId xmlns:p14="http://schemas.microsoft.com/office/powerpoint/2010/main" val="31780381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3</a:t>
            </a:fld>
            <a:endParaRPr lang="en-US"/>
          </a:p>
        </p:txBody>
      </p:sp>
    </p:spTree>
    <p:extLst>
      <p:ext uri="{BB962C8B-B14F-4D97-AF65-F5344CB8AC3E}">
        <p14:creationId xmlns:p14="http://schemas.microsoft.com/office/powerpoint/2010/main" val="12822059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4</a:t>
            </a:fld>
            <a:endParaRPr lang="en-US"/>
          </a:p>
        </p:txBody>
      </p:sp>
    </p:spTree>
    <p:extLst>
      <p:ext uri="{BB962C8B-B14F-4D97-AF65-F5344CB8AC3E}">
        <p14:creationId xmlns:p14="http://schemas.microsoft.com/office/powerpoint/2010/main" val="15212973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5</a:t>
            </a:fld>
            <a:endParaRPr lang="en-US"/>
          </a:p>
        </p:txBody>
      </p:sp>
    </p:spTree>
    <p:extLst>
      <p:ext uri="{BB962C8B-B14F-4D97-AF65-F5344CB8AC3E}">
        <p14:creationId xmlns:p14="http://schemas.microsoft.com/office/powerpoint/2010/main" val="24973302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y mom says Mashallah, </a:t>
            </a:r>
            <a:r>
              <a:rPr lang="en-US" dirty="0" err="1"/>
              <a:t>bacnk</a:t>
            </a:r>
            <a:r>
              <a:rPr lang="en-US" dirty="0"/>
              <a:t> in the day u need to go </a:t>
            </a:r>
            <a:r>
              <a:rPr lang="en-US" dirty="0" err="1"/>
              <a:t>byyeslf</a:t>
            </a:r>
            <a:r>
              <a:rPr lang="en-US" dirty="0"/>
              <a:t> and waste hours</a:t>
            </a:r>
          </a:p>
          <a:p>
            <a:r>
              <a:rPr lang="en-US" dirty="0"/>
              <a:t>Generation </a:t>
            </a:r>
            <a:r>
              <a:rPr lang="ar-SA" dirty="0"/>
              <a:t>ما عندكم صبر</a:t>
            </a:r>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26</a:t>
            </a:fld>
            <a:endParaRPr lang="en-US"/>
          </a:p>
        </p:txBody>
      </p:sp>
    </p:spTree>
    <p:extLst>
      <p:ext uri="{BB962C8B-B14F-4D97-AF65-F5344CB8AC3E}">
        <p14:creationId xmlns:p14="http://schemas.microsoft.com/office/powerpoint/2010/main" val="1565349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7</a:t>
            </a:fld>
            <a:endParaRPr lang="en-US"/>
          </a:p>
        </p:txBody>
      </p:sp>
    </p:spTree>
    <p:extLst>
      <p:ext uri="{BB962C8B-B14F-4D97-AF65-F5344CB8AC3E}">
        <p14:creationId xmlns:p14="http://schemas.microsoft.com/office/powerpoint/2010/main" val="42097311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8</a:t>
            </a:fld>
            <a:endParaRPr lang="en-US"/>
          </a:p>
        </p:txBody>
      </p:sp>
    </p:spTree>
    <p:extLst>
      <p:ext uri="{BB962C8B-B14F-4D97-AF65-F5344CB8AC3E}">
        <p14:creationId xmlns:p14="http://schemas.microsoft.com/office/powerpoint/2010/main" val="10105694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29</a:t>
            </a:fld>
            <a:endParaRPr lang="en-US"/>
          </a:p>
        </p:txBody>
      </p:sp>
    </p:spTree>
    <p:extLst>
      <p:ext uri="{BB962C8B-B14F-4D97-AF65-F5344CB8AC3E}">
        <p14:creationId xmlns:p14="http://schemas.microsoft.com/office/powerpoint/2010/main" val="4033766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ming : Story other than Uber timing </a:t>
            </a:r>
          </a:p>
          <a:p>
            <a:r>
              <a:rPr lang="en-US" dirty="0"/>
              <a:t>– VC More WHEN will it work?</a:t>
            </a:r>
          </a:p>
          <a:p>
            <a:r>
              <a:rPr lang="en-US" dirty="0"/>
              <a:t>Vision: How to add value and a company other than Nike, apple, Vision is very optimistic ad </a:t>
            </a:r>
            <a:r>
              <a:rPr lang="en-US" dirty="0" err="1"/>
              <a:t>ambisous</a:t>
            </a:r>
            <a:r>
              <a:rPr lang="en-US" dirty="0"/>
              <a:t>  like </a:t>
            </a:r>
            <a:r>
              <a:rPr lang="en-US" dirty="0" err="1"/>
              <a:t>sony</a:t>
            </a:r>
            <a:r>
              <a:rPr lang="en-US" dirty="0"/>
              <a:t> switching Japan to quality </a:t>
            </a:r>
          </a:p>
          <a:p>
            <a:r>
              <a:rPr lang="en-US" dirty="0"/>
              <a:t>Team: Acquire talents, no OMS, Delegate, Jesus take the wheel. Focus on team they should stay in your business, money, motivation, aspiration, career goals, etc.</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3</a:t>
            </a:fld>
            <a:endParaRPr lang="en-US"/>
          </a:p>
        </p:txBody>
      </p:sp>
    </p:spTree>
    <p:extLst>
      <p:ext uri="{BB962C8B-B14F-4D97-AF65-F5344CB8AC3E}">
        <p14:creationId xmlns:p14="http://schemas.microsoft.com/office/powerpoint/2010/main" val="257554563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0</a:t>
            </a:fld>
            <a:endParaRPr lang="en-US"/>
          </a:p>
        </p:txBody>
      </p:sp>
    </p:spTree>
    <p:extLst>
      <p:ext uri="{BB962C8B-B14F-4D97-AF65-F5344CB8AC3E}">
        <p14:creationId xmlns:p14="http://schemas.microsoft.com/office/powerpoint/2010/main" val="17579388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1</a:t>
            </a:fld>
            <a:endParaRPr lang="en-US"/>
          </a:p>
        </p:txBody>
      </p:sp>
    </p:spTree>
    <p:extLst>
      <p:ext uri="{BB962C8B-B14F-4D97-AF65-F5344CB8AC3E}">
        <p14:creationId xmlns:p14="http://schemas.microsoft.com/office/powerpoint/2010/main" val="7023979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2</a:t>
            </a:fld>
            <a:endParaRPr lang="en-US"/>
          </a:p>
        </p:txBody>
      </p:sp>
    </p:spTree>
    <p:extLst>
      <p:ext uri="{BB962C8B-B14F-4D97-AF65-F5344CB8AC3E}">
        <p14:creationId xmlns:p14="http://schemas.microsoft.com/office/powerpoint/2010/main" val="39364234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3</a:t>
            </a:fld>
            <a:endParaRPr lang="en-US"/>
          </a:p>
        </p:txBody>
      </p:sp>
    </p:spTree>
    <p:extLst>
      <p:ext uri="{BB962C8B-B14F-4D97-AF65-F5344CB8AC3E}">
        <p14:creationId xmlns:p14="http://schemas.microsoft.com/office/powerpoint/2010/main" val="72833029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4</a:t>
            </a:fld>
            <a:endParaRPr lang="en-US"/>
          </a:p>
        </p:txBody>
      </p:sp>
    </p:spTree>
    <p:extLst>
      <p:ext uri="{BB962C8B-B14F-4D97-AF65-F5344CB8AC3E}">
        <p14:creationId xmlns:p14="http://schemas.microsoft.com/office/powerpoint/2010/main" val="182974944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5</a:t>
            </a:fld>
            <a:endParaRPr lang="en-US"/>
          </a:p>
        </p:txBody>
      </p:sp>
    </p:spTree>
    <p:extLst>
      <p:ext uri="{BB962C8B-B14F-4D97-AF65-F5344CB8AC3E}">
        <p14:creationId xmlns:p14="http://schemas.microsoft.com/office/powerpoint/2010/main" val="33764638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6</a:t>
            </a:fld>
            <a:endParaRPr lang="en-US"/>
          </a:p>
        </p:txBody>
      </p:sp>
    </p:spTree>
    <p:extLst>
      <p:ext uri="{BB962C8B-B14F-4D97-AF65-F5344CB8AC3E}">
        <p14:creationId xmlns:p14="http://schemas.microsoft.com/office/powerpoint/2010/main" val="42446649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A" dirty="0"/>
          </a:p>
        </p:txBody>
      </p:sp>
      <p:sp>
        <p:nvSpPr>
          <p:cNvPr id="4" name="Slide Number Placeholder 3"/>
          <p:cNvSpPr>
            <a:spLocks noGrp="1"/>
          </p:cNvSpPr>
          <p:nvPr>
            <p:ph type="sldNum" sz="quarter" idx="5"/>
          </p:nvPr>
        </p:nvSpPr>
        <p:spPr/>
        <p:txBody>
          <a:bodyPr/>
          <a:lstStyle/>
          <a:p>
            <a:fld id="{1FAF3846-31A9-3149-92F5-6C323F3AC954}" type="slidenum">
              <a:rPr lang="en-US" smtClean="0"/>
              <a:t>37</a:t>
            </a:fld>
            <a:endParaRPr lang="en-US"/>
          </a:p>
        </p:txBody>
      </p:sp>
    </p:spTree>
    <p:extLst>
      <p:ext uri="{BB962C8B-B14F-4D97-AF65-F5344CB8AC3E}">
        <p14:creationId xmlns:p14="http://schemas.microsoft.com/office/powerpoint/2010/main" val="234929224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8</a:t>
            </a:fld>
            <a:endParaRPr lang="en-US"/>
          </a:p>
        </p:txBody>
      </p:sp>
    </p:spTree>
    <p:extLst>
      <p:ext uri="{BB962C8B-B14F-4D97-AF65-F5344CB8AC3E}">
        <p14:creationId xmlns:p14="http://schemas.microsoft.com/office/powerpoint/2010/main" val="95155766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39</a:t>
            </a:fld>
            <a:endParaRPr lang="en-US"/>
          </a:p>
        </p:txBody>
      </p:sp>
    </p:spTree>
    <p:extLst>
      <p:ext uri="{BB962C8B-B14F-4D97-AF65-F5344CB8AC3E}">
        <p14:creationId xmlns:p14="http://schemas.microsoft.com/office/powerpoint/2010/main" val="23421398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4</a:t>
            </a:fld>
            <a:endParaRPr lang="en-US"/>
          </a:p>
        </p:txBody>
      </p:sp>
    </p:spTree>
    <p:extLst>
      <p:ext uri="{BB962C8B-B14F-4D97-AF65-F5344CB8AC3E}">
        <p14:creationId xmlns:p14="http://schemas.microsoft.com/office/powerpoint/2010/main" val="110766846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chemeClr val="bg1"/>
                </a:solidFill>
              </a:rPr>
              <a:t>Grids</a:t>
            </a:r>
          </a:p>
          <a:p>
            <a:endParaRPr lang="en-US" dirty="0">
              <a:solidFill>
                <a:schemeClr val="bg1"/>
              </a:solidFill>
            </a:endParaRPr>
          </a:p>
          <a:p>
            <a:r>
              <a:rPr lang="en-US" dirty="0" err="1">
                <a:solidFill>
                  <a:schemeClr val="bg1"/>
                </a:solidFill>
              </a:rPr>
              <a:t>vh</a:t>
            </a:r>
            <a:r>
              <a:rPr lang="en-US" dirty="0">
                <a:solidFill>
                  <a:schemeClr val="bg1"/>
                </a:solidFill>
              </a:rPr>
              <a:t>, </a:t>
            </a:r>
            <a:r>
              <a:rPr lang="en-US" dirty="0" err="1">
                <a:solidFill>
                  <a:schemeClr val="bg1"/>
                </a:solidFill>
              </a:rPr>
              <a:t>vw</a:t>
            </a:r>
            <a:r>
              <a:rPr lang="en-US" dirty="0">
                <a:solidFill>
                  <a:schemeClr val="bg1"/>
                </a:solidFill>
              </a:rPr>
              <a:t> and %</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40</a:t>
            </a:fld>
            <a:endParaRPr lang="en-US"/>
          </a:p>
        </p:txBody>
      </p:sp>
    </p:spTree>
    <p:extLst>
      <p:ext uri="{BB962C8B-B14F-4D97-AF65-F5344CB8AC3E}">
        <p14:creationId xmlns:p14="http://schemas.microsoft.com/office/powerpoint/2010/main" val="25933412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42</a:t>
            </a:fld>
            <a:endParaRPr lang="en-US"/>
          </a:p>
        </p:txBody>
      </p:sp>
    </p:spTree>
    <p:extLst>
      <p:ext uri="{BB962C8B-B14F-4D97-AF65-F5344CB8AC3E}">
        <p14:creationId xmlns:p14="http://schemas.microsoft.com/office/powerpoint/2010/main" val="163650491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Using node and SPA (Angular, React)</a:t>
            </a:r>
          </a:p>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User feedback</a:t>
            </a:r>
          </a:p>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Buttons in the right places</a:t>
            </a:r>
          </a:p>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Animations</a:t>
            </a:r>
          </a:p>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A study found that people actually preferred the PWA over Native apps. (UX-Wise) (Ref. 1)</a:t>
            </a:r>
          </a:p>
          <a:p>
            <a:pPr>
              <a:lnSpc>
                <a:spcPct val="110000"/>
              </a:lnSpc>
            </a:pPr>
            <a:r>
              <a:rPr lang="en-US" altLang="ko-KR" sz="1200" dirty="0">
                <a:solidFill>
                  <a:schemeClr val="bg1">
                    <a:lumMod val="95000"/>
                  </a:schemeClr>
                </a:solidFill>
                <a:ea typeface="맑은 고딕" panose="020B0503020000020004" pitchFamily="50" charset="-127"/>
                <a:cs typeface="Calibri" panose="020F0502020204030204" pitchFamily="34" charset="0"/>
              </a:rPr>
              <a:t>Etc.</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43</a:t>
            </a:fld>
            <a:endParaRPr lang="en-US"/>
          </a:p>
        </p:txBody>
      </p:sp>
    </p:spTree>
    <p:extLst>
      <p:ext uri="{BB962C8B-B14F-4D97-AF65-F5344CB8AC3E}">
        <p14:creationId xmlns:p14="http://schemas.microsoft.com/office/powerpoint/2010/main" val="14573901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Optimize for speed and connectivity</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odern UI in a all platform manner (With a mobile focus)</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PA New Tech. and </a:t>
            </a:r>
            <a:r>
              <a:rPr lang="en-US" altLang="ko-KR" sz="1200" dirty="0" err="1">
                <a:solidFill>
                  <a:schemeClr val="bg1">
                    <a:lumMod val="95000"/>
                  </a:schemeClr>
                </a:solidFill>
                <a:ea typeface="맑은 고딕" panose="020B0503020000020004" pitchFamily="50" charset="-127"/>
                <a:cs typeface="Calibri" panose="020F0502020204030204" pitchFamily="34" charset="0"/>
              </a:rPr>
              <a:t>effiencent</a:t>
            </a:r>
            <a:r>
              <a:rPr lang="en-US" altLang="ko-KR" sz="1200" dirty="0">
                <a:solidFill>
                  <a:schemeClr val="bg1">
                    <a:lumMod val="95000"/>
                  </a:schemeClr>
                </a:solidFill>
                <a:ea typeface="맑은 고딕" panose="020B0503020000020004" pitchFamily="50" charset="-127"/>
                <a:cs typeface="Calibri" panose="020F0502020204030204" pitchFamily="34" charset="0"/>
              </a:rPr>
              <a:t> </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anifest</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ervice Worker</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44</a:t>
            </a:fld>
            <a:endParaRPr lang="en-US"/>
          </a:p>
        </p:txBody>
      </p:sp>
    </p:spTree>
    <p:extLst>
      <p:ext uri="{BB962C8B-B14F-4D97-AF65-F5344CB8AC3E}">
        <p14:creationId xmlns:p14="http://schemas.microsoft.com/office/powerpoint/2010/main" val="331913139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45</a:t>
            </a:fld>
            <a:endParaRPr lang="en-US"/>
          </a:p>
        </p:txBody>
      </p:sp>
    </p:spTree>
    <p:extLst>
      <p:ext uri="{BB962C8B-B14F-4D97-AF65-F5344CB8AC3E}">
        <p14:creationId xmlns:p14="http://schemas.microsoft.com/office/powerpoint/2010/main" val="4231605605"/>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46</a:t>
            </a:fld>
            <a:endParaRPr lang="en-US"/>
          </a:p>
        </p:txBody>
      </p:sp>
    </p:spTree>
    <p:extLst>
      <p:ext uri="{BB962C8B-B14F-4D97-AF65-F5344CB8AC3E}">
        <p14:creationId xmlns:p14="http://schemas.microsoft.com/office/powerpoint/2010/main" val="228820481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Optimize for speed and connectivity</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odern UI in a all platform manner (With a mobile focus)</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PA New Tech. and </a:t>
            </a:r>
            <a:r>
              <a:rPr lang="en-US" altLang="ko-KR" sz="1200" dirty="0" err="1">
                <a:solidFill>
                  <a:schemeClr val="bg1">
                    <a:lumMod val="95000"/>
                  </a:schemeClr>
                </a:solidFill>
                <a:ea typeface="맑은 고딕" panose="020B0503020000020004" pitchFamily="50" charset="-127"/>
                <a:cs typeface="Calibri" panose="020F0502020204030204" pitchFamily="34" charset="0"/>
              </a:rPr>
              <a:t>effiencent</a:t>
            </a:r>
            <a:r>
              <a:rPr lang="en-US" altLang="ko-KR" sz="1200" dirty="0">
                <a:solidFill>
                  <a:schemeClr val="bg1">
                    <a:lumMod val="95000"/>
                  </a:schemeClr>
                </a:solidFill>
                <a:ea typeface="맑은 고딕" panose="020B0503020000020004" pitchFamily="50" charset="-127"/>
                <a:cs typeface="Calibri" panose="020F0502020204030204" pitchFamily="34" charset="0"/>
              </a:rPr>
              <a:t> </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anifest</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ervice Worker</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47</a:t>
            </a:fld>
            <a:endParaRPr lang="en-US"/>
          </a:p>
        </p:txBody>
      </p:sp>
    </p:spTree>
    <p:extLst>
      <p:ext uri="{BB962C8B-B14F-4D97-AF65-F5344CB8AC3E}">
        <p14:creationId xmlns:p14="http://schemas.microsoft.com/office/powerpoint/2010/main" val="201968886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48</a:t>
            </a:fld>
            <a:endParaRPr lang="en-US"/>
          </a:p>
        </p:txBody>
      </p:sp>
    </p:spTree>
    <p:extLst>
      <p:ext uri="{BB962C8B-B14F-4D97-AF65-F5344CB8AC3E}">
        <p14:creationId xmlns:p14="http://schemas.microsoft.com/office/powerpoint/2010/main" val="27869980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49</a:t>
            </a:fld>
            <a:endParaRPr lang="en-US"/>
          </a:p>
        </p:txBody>
      </p:sp>
    </p:spTree>
    <p:extLst>
      <p:ext uri="{BB962C8B-B14F-4D97-AF65-F5344CB8AC3E}">
        <p14:creationId xmlns:p14="http://schemas.microsoft.com/office/powerpoint/2010/main" val="24259798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0</a:t>
            </a:fld>
            <a:endParaRPr lang="en-US"/>
          </a:p>
        </p:txBody>
      </p:sp>
    </p:spTree>
    <p:extLst>
      <p:ext uri="{BB962C8B-B14F-4D97-AF65-F5344CB8AC3E}">
        <p14:creationId xmlns:p14="http://schemas.microsoft.com/office/powerpoint/2010/main" val="1394835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a:t>
            </a:fld>
            <a:endParaRPr lang="en-US"/>
          </a:p>
        </p:txBody>
      </p:sp>
    </p:spTree>
    <p:extLst>
      <p:ext uri="{BB962C8B-B14F-4D97-AF65-F5344CB8AC3E}">
        <p14:creationId xmlns:p14="http://schemas.microsoft.com/office/powerpoint/2010/main" val="257812511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1</a:t>
            </a:fld>
            <a:endParaRPr lang="en-US"/>
          </a:p>
        </p:txBody>
      </p:sp>
    </p:spTree>
    <p:extLst>
      <p:ext uri="{BB962C8B-B14F-4D97-AF65-F5344CB8AC3E}">
        <p14:creationId xmlns:p14="http://schemas.microsoft.com/office/powerpoint/2010/main" val="356812293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2</a:t>
            </a:fld>
            <a:endParaRPr lang="en-US"/>
          </a:p>
        </p:txBody>
      </p:sp>
    </p:spTree>
    <p:extLst>
      <p:ext uri="{BB962C8B-B14F-4D97-AF65-F5344CB8AC3E}">
        <p14:creationId xmlns:p14="http://schemas.microsoft.com/office/powerpoint/2010/main" val="314845597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3</a:t>
            </a:fld>
            <a:endParaRPr lang="en-US"/>
          </a:p>
        </p:txBody>
      </p:sp>
    </p:spTree>
    <p:extLst>
      <p:ext uri="{BB962C8B-B14F-4D97-AF65-F5344CB8AC3E}">
        <p14:creationId xmlns:p14="http://schemas.microsoft.com/office/powerpoint/2010/main" val="300980189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4</a:t>
            </a:fld>
            <a:endParaRPr lang="en-US"/>
          </a:p>
        </p:txBody>
      </p:sp>
    </p:spTree>
    <p:extLst>
      <p:ext uri="{BB962C8B-B14F-4D97-AF65-F5344CB8AC3E}">
        <p14:creationId xmlns:p14="http://schemas.microsoft.com/office/powerpoint/2010/main" val="83349280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5</a:t>
            </a:fld>
            <a:endParaRPr lang="en-US"/>
          </a:p>
        </p:txBody>
      </p:sp>
    </p:spTree>
    <p:extLst>
      <p:ext uri="{BB962C8B-B14F-4D97-AF65-F5344CB8AC3E}">
        <p14:creationId xmlns:p14="http://schemas.microsoft.com/office/powerpoint/2010/main" val="2407761990"/>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6</a:t>
            </a:fld>
            <a:endParaRPr lang="en-US"/>
          </a:p>
        </p:txBody>
      </p:sp>
    </p:spTree>
    <p:extLst>
      <p:ext uri="{BB962C8B-B14F-4D97-AF65-F5344CB8AC3E}">
        <p14:creationId xmlns:p14="http://schemas.microsoft.com/office/powerpoint/2010/main" val="667064194"/>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57</a:t>
            </a:fld>
            <a:endParaRPr lang="en-US"/>
          </a:p>
        </p:txBody>
      </p:sp>
    </p:spTree>
    <p:extLst>
      <p:ext uri="{BB962C8B-B14F-4D97-AF65-F5344CB8AC3E}">
        <p14:creationId xmlns:p14="http://schemas.microsoft.com/office/powerpoint/2010/main" val="41964832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Optimize for speed and connectivity</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odern UI in a all platform manner (With a mobile focus)</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PA New Tech. and </a:t>
            </a:r>
            <a:r>
              <a:rPr lang="en-US" altLang="ko-KR" sz="1200" dirty="0" err="1">
                <a:solidFill>
                  <a:schemeClr val="bg1">
                    <a:lumMod val="95000"/>
                  </a:schemeClr>
                </a:solidFill>
                <a:ea typeface="맑은 고딕" panose="020B0503020000020004" pitchFamily="50" charset="-127"/>
                <a:cs typeface="Calibri" panose="020F0502020204030204" pitchFamily="34" charset="0"/>
              </a:rPr>
              <a:t>effiencent</a:t>
            </a:r>
            <a:r>
              <a:rPr lang="en-US" altLang="ko-KR" sz="1200" dirty="0">
                <a:solidFill>
                  <a:schemeClr val="bg1">
                    <a:lumMod val="95000"/>
                  </a:schemeClr>
                </a:solidFill>
                <a:ea typeface="맑은 고딕" panose="020B0503020000020004" pitchFamily="50" charset="-127"/>
                <a:cs typeface="Calibri" panose="020F0502020204030204" pitchFamily="34" charset="0"/>
              </a:rPr>
              <a:t> </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Manifest</a:t>
            </a:r>
          </a:p>
          <a:p>
            <a:pPr marL="228600" indent="-228600">
              <a:lnSpc>
                <a:spcPct val="110000"/>
              </a:lnSpc>
              <a:buFont typeface="+mj-lt"/>
              <a:buAutoNum type="arabicPeriod"/>
            </a:pPr>
            <a:r>
              <a:rPr lang="en-US" altLang="ko-KR" sz="1200" dirty="0">
                <a:solidFill>
                  <a:schemeClr val="bg1">
                    <a:lumMod val="95000"/>
                  </a:schemeClr>
                </a:solidFill>
                <a:ea typeface="맑은 고딕" panose="020B0503020000020004" pitchFamily="50" charset="-127"/>
                <a:cs typeface="Calibri" panose="020F0502020204030204" pitchFamily="34" charset="0"/>
              </a:rPr>
              <a:t>Service Worker</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58</a:t>
            </a:fld>
            <a:endParaRPr lang="en-US"/>
          </a:p>
        </p:txBody>
      </p:sp>
    </p:spTree>
    <p:extLst>
      <p:ext uri="{BB962C8B-B14F-4D97-AF65-F5344CB8AC3E}">
        <p14:creationId xmlns:p14="http://schemas.microsoft.com/office/powerpoint/2010/main" val="2644484827"/>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chemeClr val="bg1"/>
                </a:solidFill>
                <a:latin typeface="Calibri" panose="020F0502020204030204" pitchFamily="34" charset="0"/>
              </a:rPr>
              <a:t>Another startling stat about mobile app usage reveals that, there is a </a:t>
            </a:r>
            <a:r>
              <a:rPr lang="en-US" u="sng" dirty="0">
                <a:solidFill>
                  <a:schemeClr val="bg1"/>
                </a:solidFill>
                <a:latin typeface="Calibri" panose="020F0502020204030204" pitchFamily="34" charset="0"/>
                <a:hlinkClick r:id="rId3">
                  <a:extLst>
                    <a:ext uri="{A12FA001-AC4F-418D-AE19-62706E023703}">
                      <ahyp:hlinkClr xmlns:ahyp="http://schemas.microsoft.com/office/drawing/2018/hyperlinkcolor" val="tx"/>
                    </a:ext>
                  </a:extLst>
                </a:hlinkClick>
              </a:rPr>
              <a:t>20% drop</a:t>
            </a:r>
            <a:r>
              <a:rPr lang="en-US" dirty="0">
                <a:solidFill>
                  <a:schemeClr val="bg1"/>
                </a:solidFill>
                <a:latin typeface="Calibri" panose="020F0502020204030204" pitchFamily="34" charset="0"/>
              </a:rPr>
              <a:t> in user volume from download to active usage. So somewhere between finding an app, downloading it and finally using it; 1 in every 5 users disappear.</a:t>
            </a:r>
          </a:p>
          <a:p>
            <a:endParaRPr lang="en-US" dirty="0"/>
          </a:p>
          <a:p>
            <a:endParaRPr lang="en-US" dirty="0"/>
          </a:p>
          <a:p>
            <a:endParaRPr lang="en-US" dirty="0"/>
          </a:p>
          <a:p>
            <a:pPr fontAlgn="base"/>
            <a:r>
              <a:rPr lang="en-US" dirty="0">
                <a:solidFill>
                  <a:schemeClr val="bg1"/>
                </a:solidFill>
                <a:latin typeface="Calibri" panose="020F0502020204030204" pitchFamily="34" charset="0"/>
              </a:rPr>
              <a:t>On SEO</a:t>
            </a:r>
          </a:p>
          <a:p>
            <a:pPr fontAlgn="base"/>
            <a:r>
              <a:rPr lang="en-US" dirty="0">
                <a:solidFill>
                  <a:schemeClr val="bg1"/>
                </a:solidFill>
                <a:latin typeface="Calibri" panose="020F0502020204030204" pitchFamily="34" charset="0"/>
              </a:rPr>
              <a:t>"We estimate that up to two-thirds of the apps in leading consumer app store catalogues receive fewer than 1,000 downloads in their first year, and a significant proportion of those get none at all.” (Article 2)</a:t>
            </a:r>
          </a:p>
          <a:p>
            <a:br>
              <a:rPr lang="en-US" dirty="0"/>
            </a:br>
            <a:endParaRPr lang="en-US" dirty="0"/>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59</a:t>
            </a:fld>
            <a:endParaRPr lang="en-US"/>
          </a:p>
        </p:txBody>
      </p:sp>
    </p:spTree>
    <p:extLst>
      <p:ext uri="{BB962C8B-B14F-4D97-AF65-F5344CB8AC3E}">
        <p14:creationId xmlns:p14="http://schemas.microsoft.com/office/powerpoint/2010/main" val="1817226495"/>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0</a:t>
            </a:fld>
            <a:endParaRPr lang="en-US"/>
          </a:p>
        </p:txBody>
      </p:sp>
    </p:spTree>
    <p:extLst>
      <p:ext uri="{BB962C8B-B14F-4D97-AF65-F5344CB8AC3E}">
        <p14:creationId xmlns:p14="http://schemas.microsoft.com/office/powerpoint/2010/main" val="3424429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a:t>
            </a:fld>
            <a:endParaRPr lang="en-US"/>
          </a:p>
        </p:txBody>
      </p:sp>
    </p:spTree>
    <p:extLst>
      <p:ext uri="{BB962C8B-B14F-4D97-AF65-F5344CB8AC3E}">
        <p14:creationId xmlns:p14="http://schemas.microsoft.com/office/powerpoint/2010/main" val="14185796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1</a:t>
            </a:fld>
            <a:endParaRPr lang="en-US"/>
          </a:p>
        </p:txBody>
      </p:sp>
    </p:spTree>
    <p:extLst>
      <p:ext uri="{BB962C8B-B14F-4D97-AF65-F5344CB8AC3E}">
        <p14:creationId xmlns:p14="http://schemas.microsoft.com/office/powerpoint/2010/main" val="139449850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2</a:t>
            </a:fld>
            <a:endParaRPr lang="en-US"/>
          </a:p>
        </p:txBody>
      </p:sp>
    </p:spTree>
    <p:extLst>
      <p:ext uri="{BB962C8B-B14F-4D97-AF65-F5344CB8AC3E}">
        <p14:creationId xmlns:p14="http://schemas.microsoft.com/office/powerpoint/2010/main" val="3965396933"/>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dirty="0">
                <a:solidFill>
                  <a:schemeClr val="bg1">
                    <a:lumMod val="95000"/>
                  </a:schemeClr>
                </a:solidFill>
                <a:ea typeface="맑은 고딕" panose="020B0503020000020004" pitchFamily="50" charset="-127"/>
                <a:cs typeface="Calibri" panose="020F0502020204030204" pitchFamily="34" charset="0"/>
              </a:rPr>
              <a:t>Best PWA example</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63</a:t>
            </a:fld>
            <a:endParaRPr lang="en-US"/>
          </a:p>
        </p:txBody>
      </p:sp>
    </p:spTree>
    <p:extLst>
      <p:ext uri="{BB962C8B-B14F-4D97-AF65-F5344CB8AC3E}">
        <p14:creationId xmlns:p14="http://schemas.microsoft.com/office/powerpoint/2010/main" val="113344630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4</a:t>
            </a:fld>
            <a:endParaRPr lang="en-US"/>
          </a:p>
        </p:txBody>
      </p:sp>
    </p:spTree>
    <p:extLst>
      <p:ext uri="{BB962C8B-B14F-4D97-AF65-F5344CB8AC3E}">
        <p14:creationId xmlns:p14="http://schemas.microsoft.com/office/powerpoint/2010/main" val="331910470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5</a:t>
            </a:fld>
            <a:endParaRPr lang="en-US"/>
          </a:p>
        </p:txBody>
      </p:sp>
    </p:spTree>
    <p:extLst>
      <p:ext uri="{BB962C8B-B14F-4D97-AF65-F5344CB8AC3E}">
        <p14:creationId xmlns:p14="http://schemas.microsoft.com/office/powerpoint/2010/main" val="374019270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6</a:t>
            </a:fld>
            <a:endParaRPr lang="en-US"/>
          </a:p>
        </p:txBody>
      </p:sp>
    </p:spTree>
    <p:extLst>
      <p:ext uri="{BB962C8B-B14F-4D97-AF65-F5344CB8AC3E}">
        <p14:creationId xmlns:p14="http://schemas.microsoft.com/office/powerpoint/2010/main" val="206874611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7</a:t>
            </a:fld>
            <a:endParaRPr lang="en-US"/>
          </a:p>
        </p:txBody>
      </p:sp>
    </p:spTree>
    <p:extLst>
      <p:ext uri="{BB962C8B-B14F-4D97-AF65-F5344CB8AC3E}">
        <p14:creationId xmlns:p14="http://schemas.microsoft.com/office/powerpoint/2010/main" val="58906081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68</a:t>
            </a:fld>
            <a:endParaRPr lang="en-US"/>
          </a:p>
        </p:txBody>
      </p:sp>
    </p:spTree>
    <p:extLst>
      <p:ext uri="{BB962C8B-B14F-4D97-AF65-F5344CB8AC3E}">
        <p14:creationId xmlns:p14="http://schemas.microsoft.com/office/powerpoint/2010/main" val="412116873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cal diagnosis</a:t>
            </a:r>
          </a:p>
          <a:p>
            <a:r>
              <a:rPr lang="en-US" dirty="0"/>
              <a:t>Driving</a:t>
            </a:r>
          </a:p>
          <a:p>
            <a:r>
              <a:rPr lang="en-US" dirty="0"/>
              <a:t>Security </a:t>
            </a:r>
            <a:r>
              <a:rPr lang="en-US" dirty="0" err="1"/>
              <a:t>systemns</a:t>
            </a:r>
            <a:endParaRPr lang="en-US" dirty="0"/>
          </a:p>
          <a:p>
            <a:r>
              <a:rPr lang="en-US" dirty="0"/>
              <a:t>YouTube </a:t>
            </a:r>
            <a:r>
              <a:rPr lang="en-US" dirty="0" err="1"/>
              <a:t>alg</a:t>
            </a:r>
            <a:endParaRPr lang="en-US" dirty="0"/>
          </a:p>
          <a:p>
            <a:r>
              <a:rPr lang="en-US" dirty="0"/>
              <a:t>Fraud detection on cc</a:t>
            </a:r>
          </a:p>
          <a:p>
            <a:endParaRPr lang="en-US" dirty="0"/>
          </a:p>
          <a:p>
            <a:r>
              <a:rPr lang="en-US" dirty="0"/>
              <a:t>Application:</a:t>
            </a:r>
          </a:p>
          <a:p>
            <a:r>
              <a:rPr lang="en-US" dirty="0"/>
              <a:t>Oven vs cooking</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69</a:t>
            </a:fld>
            <a:endParaRPr lang="en-US"/>
          </a:p>
        </p:txBody>
      </p:sp>
    </p:spTree>
    <p:extLst>
      <p:ext uri="{BB962C8B-B14F-4D97-AF65-F5344CB8AC3E}">
        <p14:creationId xmlns:p14="http://schemas.microsoft.com/office/powerpoint/2010/main" val="81111625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cal diagnosis</a:t>
            </a:r>
          </a:p>
          <a:p>
            <a:r>
              <a:rPr lang="en-US" dirty="0"/>
              <a:t>Driving</a:t>
            </a:r>
          </a:p>
          <a:p>
            <a:r>
              <a:rPr lang="en-US" dirty="0"/>
              <a:t>Security </a:t>
            </a:r>
            <a:r>
              <a:rPr lang="en-US" dirty="0" err="1"/>
              <a:t>systemns</a:t>
            </a:r>
            <a:endParaRPr lang="en-US" dirty="0"/>
          </a:p>
          <a:p>
            <a:r>
              <a:rPr lang="en-US" dirty="0"/>
              <a:t>YouTube </a:t>
            </a:r>
            <a:r>
              <a:rPr lang="en-US" dirty="0" err="1"/>
              <a:t>alg</a:t>
            </a:r>
            <a:endParaRPr lang="en-US" dirty="0"/>
          </a:p>
          <a:p>
            <a:r>
              <a:rPr lang="en-US" dirty="0"/>
              <a:t>Fraud detection on cc</a:t>
            </a:r>
          </a:p>
          <a:p>
            <a:endParaRPr lang="en-US" dirty="0"/>
          </a:p>
          <a:p>
            <a:r>
              <a:rPr lang="en-US" dirty="0"/>
              <a:t>Application:</a:t>
            </a:r>
          </a:p>
          <a:p>
            <a:r>
              <a:rPr lang="en-US" dirty="0"/>
              <a:t>Oven vs cooking</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70</a:t>
            </a:fld>
            <a:endParaRPr lang="en-US"/>
          </a:p>
        </p:txBody>
      </p:sp>
    </p:spTree>
    <p:extLst>
      <p:ext uri="{BB962C8B-B14F-4D97-AF65-F5344CB8AC3E}">
        <p14:creationId xmlns:p14="http://schemas.microsoft.com/office/powerpoint/2010/main" val="609948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7</a:t>
            </a:fld>
            <a:endParaRPr lang="en-US"/>
          </a:p>
        </p:txBody>
      </p:sp>
    </p:spTree>
    <p:extLst>
      <p:ext uri="{BB962C8B-B14F-4D97-AF65-F5344CB8AC3E}">
        <p14:creationId xmlns:p14="http://schemas.microsoft.com/office/powerpoint/2010/main" val="141557985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dical diagnosis</a:t>
            </a:r>
          </a:p>
          <a:p>
            <a:r>
              <a:rPr lang="en-US" dirty="0"/>
              <a:t>Driving</a:t>
            </a:r>
          </a:p>
          <a:p>
            <a:r>
              <a:rPr lang="en-US" dirty="0"/>
              <a:t>Security </a:t>
            </a:r>
            <a:r>
              <a:rPr lang="en-US" dirty="0" err="1"/>
              <a:t>systemns</a:t>
            </a:r>
            <a:endParaRPr lang="en-US" dirty="0"/>
          </a:p>
          <a:p>
            <a:r>
              <a:rPr lang="en-US" dirty="0"/>
              <a:t>YouTube </a:t>
            </a:r>
            <a:r>
              <a:rPr lang="en-US" dirty="0" err="1"/>
              <a:t>alg</a:t>
            </a:r>
            <a:endParaRPr lang="en-US" dirty="0"/>
          </a:p>
          <a:p>
            <a:r>
              <a:rPr lang="en-US" dirty="0"/>
              <a:t>Fraud detection on cc</a:t>
            </a:r>
          </a:p>
          <a:p>
            <a:endParaRPr lang="en-US" dirty="0"/>
          </a:p>
          <a:p>
            <a:r>
              <a:rPr lang="en-US" dirty="0"/>
              <a:t>Application:</a:t>
            </a:r>
          </a:p>
          <a:p>
            <a:r>
              <a:rPr lang="en-US" dirty="0"/>
              <a:t>Oven vs cooking</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71</a:t>
            </a:fld>
            <a:endParaRPr lang="en-US"/>
          </a:p>
        </p:txBody>
      </p:sp>
    </p:spTree>
    <p:extLst>
      <p:ext uri="{BB962C8B-B14F-4D97-AF65-F5344CB8AC3E}">
        <p14:creationId xmlns:p14="http://schemas.microsoft.com/office/powerpoint/2010/main" val="84480117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74</a:t>
            </a:fld>
            <a:endParaRPr lang="en-US"/>
          </a:p>
        </p:txBody>
      </p:sp>
    </p:spTree>
    <p:extLst>
      <p:ext uri="{BB962C8B-B14F-4D97-AF65-F5344CB8AC3E}">
        <p14:creationId xmlns:p14="http://schemas.microsoft.com/office/powerpoint/2010/main" val="1035764749"/>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75</a:t>
            </a:fld>
            <a:endParaRPr lang="en-US"/>
          </a:p>
        </p:txBody>
      </p:sp>
    </p:spTree>
    <p:extLst>
      <p:ext uri="{BB962C8B-B14F-4D97-AF65-F5344CB8AC3E}">
        <p14:creationId xmlns:p14="http://schemas.microsoft.com/office/powerpoint/2010/main" val="13332166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MEDIACHAIN</a:t>
            </a:r>
          </a:p>
          <a:p>
            <a:r>
              <a:rPr lang="en-US" sz="2000" dirty="0"/>
              <a:t>Industry: Music</a:t>
            </a:r>
          </a:p>
          <a:p>
            <a:r>
              <a:rPr lang="en-US" sz="2000" dirty="0"/>
              <a:t>Location: New York, New York</a:t>
            </a:r>
          </a:p>
          <a:p>
            <a:r>
              <a:rPr lang="en-US" sz="2000" dirty="0"/>
              <a:t>How it's using blockchain: </a:t>
            </a:r>
            <a:r>
              <a:rPr lang="en-US" sz="2000" dirty="0" err="1"/>
              <a:t>Mediachain</a:t>
            </a:r>
            <a:r>
              <a:rPr lang="en-US" sz="2000" dirty="0"/>
              <a:t> uses smart contracts to get musicians the money they deserve. By entering into a decentralized, transparent contract, artists can agree to higher royalties and actually get paid in full and on time. Streaming giant Spotify acquired </a:t>
            </a:r>
            <a:r>
              <a:rPr lang="en-US" sz="2000" dirty="0" err="1"/>
              <a:t>Mediachain</a:t>
            </a:r>
            <a:r>
              <a:rPr lang="en-US" sz="2000" dirty="0"/>
              <a:t> in April 2017.</a:t>
            </a: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76</a:t>
            </a:fld>
            <a:endParaRPr lang="en-US"/>
          </a:p>
        </p:txBody>
      </p:sp>
    </p:spTree>
    <p:extLst>
      <p:ext uri="{BB962C8B-B14F-4D97-AF65-F5344CB8AC3E}">
        <p14:creationId xmlns:p14="http://schemas.microsoft.com/office/powerpoint/2010/main" val="155933324"/>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cap="all" dirty="0">
                <a:solidFill>
                  <a:srgbClr val="898784"/>
                </a:solidFill>
                <a:latin typeface="Calibri" panose="020F0502020204030204" pitchFamily="34" charset="0"/>
              </a:rPr>
              <a:t>BURSTIQ</a:t>
            </a:r>
          </a:p>
          <a:p>
            <a:r>
              <a:rPr lang="en-US" b="1" dirty="0">
                <a:solidFill>
                  <a:srgbClr val="7E7A76"/>
                </a:solidFill>
                <a:latin typeface="Calibri" panose="020F0502020204030204" pitchFamily="34" charset="0"/>
              </a:rPr>
              <a:t>Industry:</a:t>
            </a:r>
            <a:r>
              <a:rPr lang="en-US" dirty="0">
                <a:solidFill>
                  <a:srgbClr val="7E7A76"/>
                </a:solidFill>
                <a:latin typeface="Calibri" panose="020F0502020204030204" pitchFamily="34" charset="0"/>
              </a:rPr>
              <a:t> Healthcare</a:t>
            </a:r>
          </a:p>
          <a:p>
            <a:r>
              <a:rPr lang="en-US" b="1" dirty="0">
                <a:solidFill>
                  <a:srgbClr val="7E7A76"/>
                </a:solidFill>
                <a:latin typeface="Calibri" panose="020F0502020204030204" pitchFamily="34" charset="0"/>
              </a:rPr>
              <a:t>Location:</a:t>
            </a:r>
            <a:r>
              <a:rPr lang="en-US" dirty="0">
                <a:solidFill>
                  <a:srgbClr val="7E7A76"/>
                </a:solidFill>
                <a:latin typeface="Calibri" panose="020F0502020204030204" pitchFamily="34" charset="0"/>
              </a:rPr>
              <a:t> Denver, Colorado</a:t>
            </a:r>
          </a:p>
          <a:p>
            <a:r>
              <a:rPr lang="en-US" b="1" dirty="0">
                <a:solidFill>
                  <a:srgbClr val="7E7A76"/>
                </a:solidFill>
                <a:latin typeface="Calibri" panose="020F0502020204030204" pitchFamily="34" charset="0"/>
              </a:rPr>
              <a:t>How it's using blockchain:</a:t>
            </a:r>
            <a:r>
              <a:rPr lang="en-US" dirty="0">
                <a:solidFill>
                  <a:srgbClr val="7E7A76"/>
                </a:solidFill>
                <a:latin typeface="Calibri" panose="020F0502020204030204" pitchFamily="34" charset="0"/>
              </a:rPr>
              <a:t> </a:t>
            </a:r>
            <a:r>
              <a:rPr lang="en-US" dirty="0">
                <a:solidFill>
                  <a:srgbClr val="7E7A76"/>
                </a:solidFill>
                <a:latin typeface="Calibri" panose="020F0502020204030204" pitchFamily="34" charset="0"/>
                <a:hlinkClick r:id="rId3"/>
              </a:rPr>
              <a:t>BurstIQ’s</a:t>
            </a:r>
            <a:r>
              <a:rPr lang="en-US" dirty="0">
                <a:solidFill>
                  <a:srgbClr val="7E7A76"/>
                </a:solidFill>
                <a:latin typeface="Calibri" panose="020F0502020204030204" pitchFamily="34" charset="0"/>
              </a:rPr>
              <a:t> big data blockchain contracts help patients and doctors securely transfer sensitive medical information. The smart contracts establish the parameters of what data can be shared and even displays details of personalized health plans for each patient. </a:t>
            </a:r>
            <a:endParaRPr lang="en-US" b="0" i="0" dirty="0">
              <a:solidFill>
                <a:srgbClr val="7E7A76"/>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77</a:t>
            </a:fld>
            <a:endParaRPr lang="en-US"/>
          </a:p>
        </p:txBody>
      </p:sp>
    </p:spTree>
    <p:extLst>
      <p:ext uri="{BB962C8B-B14F-4D97-AF65-F5344CB8AC3E}">
        <p14:creationId xmlns:p14="http://schemas.microsoft.com/office/powerpoint/2010/main" val="3800162450"/>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cap="all" dirty="0">
                <a:solidFill>
                  <a:srgbClr val="898784"/>
                </a:solidFill>
                <a:latin typeface="Calibri" panose="020F0502020204030204" pitchFamily="34" charset="0"/>
              </a:rPr>
              <a:t>DHL</a:t>
            </a:r>
          </a:p>
          <a:p>
            <a:r>
              <a:rPr lang="en-US" b="1" dirty="0">
                <a:solidFill>
                  <a:srgbClr val="7E7A76"/>
                </a:solidFill>
                <a:latin typeface="Calibri" panose="020F0502020204030204" pitchFamily="34" charset="0"/>
              </a:rPr>
              <a:t>Industry:</a:t>
            </a:r>
            <a:r>
              <a:rPr lang="en-US" dirty="0">
                <a:solidFill>
                  <a:srgbClr val="7E7A76"/>
                </a:solidFill>
                <a:latin typeface="Calibri" panose="020F0502020204030204" pitchFamily="34" charset="0"/>
              </a:rPr>
              <a:t> Logistics, Supply Chain</a:t>
            </a:r>
          </a:p>
          <a:p>
            <a:r>
              <a:rPr lang="en-US" b="1" dirty="0">
                <a:solidFill>
                  <a:srgbClr val="7E7A76"/>
                </a:solidFill>
                <a:latin typeface="Calibri" panose="020F0502020204030204" pitchFamily="34" charset="0"/>
              </a:rPr>
              <a:t>Location:</a:t>
            </a:r>
            <a:r>
              <a:rPr lang="en-US" dirty="0">
                <a:solidFill>
                  <a:srgbClr val="7E7A76"/>
                </a:solidFill>
                <a:latin typeface="Calibri" panose="020F0502020204030204" pitchFamily="34" charset="0"/>
              </a:rPr>
              <a:t> Plantation, Florida (US headquarters)</a:t>
            </a:r>
          </a:p>
          <a:p>
            <a:r>
              <a:rPr lang="en-US" b="1" dirty="0">
                <a:solidFill>
                  <a:srgbClr val="7E7A76"/>
                </a:solidFill>
                <a:latin typeface="Calibri" panose="020F0502020204030204" pitchFamily="34" charset="0"/>
              </a:rPr>
              <a:t>How it's using blockchain:</a:t>
            </a:r>
            <a:r>
              <a:rPr lang="en-US" dirty="0">
                <a:solidFill>
                  <a:srgbClr val="7E7A76"/>
                </a:solidFill>
                <a:latin typeface="Calibri" panose="020F0502020204030204" pitchFamily="34" charset="0"/>
              </a:rPr>
              <a:t> Shipping giant </a:t>
            </a:r>
            <a:r>
              <a:rPr lang="en-US" dirty="0">
                <a:solidFill>
                  <a:srgbClr val="7E7A76"/>
                </a:solidFill>
                <a:latin typeface="Calibri" panose="020F0502020204030204" pitchFamily="34" charset="0"/>
                <a:hlinkClick r:id="rId3"/>
              </a:rPr>
              <a:t>DHL</a:t>
            </a:r>
            <a:r>
              <a:rPr lang="en-US" dirty="0">
                <a:solidFill>
                  <a:srgbClr val="7E7A76"/>
                </a:solidFill>
                <a:latin typeface="Calibri" panose="020F0502020204030204" pitchFamily="34" charset="0"/>
              </a:rPr>
              <a:t> is at the forefront of blockchain-backed logistics, using it to keep a digital ledger of shipments and maintain integrity of transactions. DHL has a major presence in the US and is one of the largest shipping companies to embrace blockchain.</a:t>
            </a:r>
            <a:endParaRPr lang="en-US" b="0" i="0" dirty="0">
              <a:solidFill>
                <a:srgbClr val="7E7A76"/>
              </a:solidFill>
              <a:effectLst/>
              <a:latin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78</a:t>
            </a:fld>
            <a:endParaRPr lang="en-US"/>
          </a:p>
        </p:txBody>
      </p:sp>
    </p:spTree>
    <p:extLst>
      <p:ext uri="{BB962C8B-B14F-4D97-AF65-F5344CB8AC3E}">
        <p14:creationId xmlns:p14="http://schemas.microsoft.com/office/powerpoint/2010/main" val="348378059"/>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79</a:t>
            </a:fld>
            <a:endParaRPr lang="en-US"/>
          </a:p>
        </p:txBody>
      </p:sp>
    </p:spTree>
    <p:extLst>
      <p:ext uri="{BB962C8B-B14F-4D97-AF65-F5344CB8AC3E}">
        <p14:creationId xmlns:p14="http://schemas.microsoft.com/office/powerpoint/2010/main" val="427261354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80</a:t>
            </a:fld>
            <a:endParaRPr lang="en-US"/>
          </a:p>
        </p:txBody>
      </p:sp>
    </p:spTree>
    <p:extLst>
      <p:ext uri="{BB962C8B-B14F-4D97-AF65-F5344CB8AC3E}">
        <p14:creationId xmlns:p14="http://schemas.microsoft.com/office/powerpoint/2010/main" val="110196702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A" dirty="0"/>
          </a:p>
        </p:txBody>
      </p:sp>
      <p:sp>
        <p:nvSpPr>
          <p:cNvPr id="4" name="Slide Number Placeholder 3"/>
          <p:cNvSpPr>
            <a:spLocks noGrp="1"/>
          </p:cNvSpPr>
          <p:nvPr>
            <p:ph type="sldNum" sz="quarter" idx="5"/>
          </p:nvPr>
        </p:nvSpPr>
        <p:spPr/>
        <p:txBody>
          <a:bodyPr/>
          <a:lstStyle/>
          <a:p>
            <a:fld id="{1FAF3846-31A9-3149-92F5-6C323F3AC954}" type="slidenum">
              <a:rPr lang="en-US" smtClean="0"/>
              <a:t>81</a:t>
            </a:fld>
            <a:endParaRPr lang="en-US"/>
          </a:p>
        </p:txBody>
      </p:sp>
    </p:spTree>
    <p:extLst>
      <p:ext uri="{BB962C8B-B14F-4D97-AF65-F5344CB8AC3E}">
        <p14:creationId xmlns:p14="http://schemas.microsoft.com/office/powerpoint/2010/main" val="863679107"/>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83</a:t>
            </a:fld>
            <a:endParaRPr lang="en-US"/>
          </a:p>
        </p:txBody>
      </p:sp>
    </p:spTree>
    <p:extLst>
      <p:ext uri="{BB962C8B-B14F-4D97-AF65-F5344CB8AC3E}">
        <p14:creationId xmlns:p14="http://schemas.microsoft.com/office/powerpoint/2010/main" val="2640629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8</a:t>
            </a:fld>
            <a:endParaRPr lang="en-US"/>
          </a:p>
        </p:txBody>
      </p:sp>
    </p:spTree>
    <p:extLst>
      <p:ext uri="{BB962C8B-B14F-4D97-AF65-F5344CB8AC3E}">
        <p14:creationId xmlns:p14="http://schemas.microsoft.com/office/powerpoint/2010/main" val="1256058588"/>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Spam detection</a:t>
            </a:r>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84</a:t>
            </a:fld>
            <a:endParaRPr lang="en-US"/>
          </a:p>
        </p:txBody>
      </p:sp>
    </p:spTree>
    <p:extLst>
      <p:ext uri="{BB962C8B-B14F-4D97-AF65-F5344CB8AC3E}">
        <p14:creationId xmlns:p14="http://schemas.microsoft.com/office/powerpoint/2010/main" val="233370699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000" dirty="0"/>
              <a:t>Spam detection</a:t>
            </a:r>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85</a:t>
            </a:fld>
            <a:endParaRPr lang="en-US"/>
          </a:p>
        </p:txBody>
      </p:sp>
    </p:spTree>
    <p:extLst>
      <p:ext uri="{BB962C8B-B14F-4D97-AF65-F5344CB8AC3E}">
        <p14:creationId xmlns:p14="http://schemas.microsoft.com/office/powerpoint/2010/main" val="1653127830"/>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86</a:t>
            </a:fld>
            <a:endParaRPr lang="en-US"/>
          </a:p>
        </p:txBody>
      </p:sp>
    </p:spTree>
    <p:extLst>
      <p:ext uri="{BB962C8B-B14F-4D97-AF65-F5344CB8AC3E}">
        <p14:creationId xmlns:p14="http://schemas.microsoft.com/office/powerpoint/2010/main" val="255251603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FAF3846-31A9-3149-92F5-6C323F3AC954}" type="slidenum">
              <a:rPr lang="en-US" smtClean="0"/>
              <a:t>88</a:t>
            </a:fld>
            <a:endParaRPr lang="en-US"/>
          </a:p>
        </p:txBody>
      </p:sp>
    </p:spTree>
    <p:extLst>
      <p:ext uri="{BB962C8B-B14F-4D97-AF65-F5344CB8AC3E}">
        <p14:creationId xmlns:p14="http://schemas.microsoft.com/office/powerpoint/2010/main" val="177607118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89</a:t>
            </a:fld>
            <a:endParaRPr lang="en-US"/>
          </a:p>
        </p:txBody>
      </p:sp>
    </p:spTree>
    <p:extLst>
      <p:ext uri="{BB962C8B-B14F-4D97-AF65-F5344CB8AC3E}">
        <p14:creationId xmlns:p14="http://schemas.microsoft.com/office/powerpoint/2010/main" val="1820257989"/>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90</a:t>
            </a:fld>
            <a:endParaRPr lang="en-US"/>
          </a:p>
        </p:txBody>
      </p:sp>
    </p:spTree>
    <p:extLst>
      <p:ext uri="{BB962C8B-B14F-4D97-AF65-F5344CB8AC3E}">
        <p14:creationId xmlns:p14="http://schemas.microsoft.com/office/powerpoint/2010/main" val="2098763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1FAF3846-31A9-3149-92F5-6C323F3AC954}" type="slidenum">
              <a:rPr lang="en-US" smtClean="0"/>
              <a:t>9</a:t>
            </a:fld>
            <a:endParaRPr lang="en-US"/>
          </a:p>
        </p:txBody>
      </p:sp>
    </p:spTree>
    <p:extLst>
      <p:ext uri="{BB962C8B-B14F-4D97-AF65-F5344CB8AC3E}">
        <p14:creationId xmlns:p14="http://schemas.microsoft.com/office/powerpoint/2010/main" val="34948873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3.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4.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6.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7.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8.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9.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20.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2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2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23.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24.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25.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26.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27.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28.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29.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30.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3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33.png"/><Relationship Id="rId5" Type="http://schemas.openxmlformats.org/officeDocument/2006/relationships/image" Target="../media/image3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34.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35.emf"/><Relationship Id="rId4" Type="http://schemas.openxmlformats.org/officeDocument/2006/relationships/oleObject" Target="../embeddings/oleObject3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7.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8.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9.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0.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B70A02-60DB-BA47-AFA1-281DF674D30C}"/>
              </a:ext>
            </a:extLst>
          </p:cNvPr>
          <p:cNvGraphicFramePr>
            <a:graphicFrameLocks noChangeAspect="1"/>
          </p:cNvGraphicFramePr>
          <p:nvPr userDrawn="1">
            <p:custDataLst>
              <p:tags r:id="rId2"/>
            </p:custDataLst>
            <p:extLst>
              <p:ext uri="{D42A27DB-BD31-4B8C-83A1-F6EECF244321}">
                <p14:modId xmlns:p14="http://schemas.microsoft.com/office/powerpoint/2010/main" val="4671123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295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1"/>
          </p:nvPr>
        </p:nvSpPr>
        <p:spPr>
          <a:xfrm>
            <a:off x="0" y="0"/>
            <a:ext cx="12192000" cy="6858000"/>
          </a:xfrm>
        </p:spPr>
        <p:txBody>
          <a:bodyPr/>
          <a:lstStyle/>
          <a:p>
            <a:endParaRPr lang="ko-KR" altLang="en-US"/>
          </a:p>
        </p:txBody>
      </p:sp>
    </p:spTree>
    <p:extLst>
      <p:ext uri="{BB962C8B-B14F-4D97-AF65-F5344CB8AC3E}">
        <p14:creationId xmlns:p14="http://schemas.microsoft.com/office/powerpoint/2010/main" val="243139664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9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1744C02-0BF1-0040-9B1C-2A869F6055A4}"/>
              </a:ext>
            </a:extLst>
          </p:cNvPr>
          <p:cNvGraphicFramePr>
            <a:graphicFrameLocks noChangeAspect="1"/>
          </p:cNvGraphicFramePr>
          <p:nvPr userDrawn="1">
            <p:custDataLst>
              <p:tags r:id="rId2"/>
            </p:custDataLst>
            <p:extLst>
              <p:ext uri="{D42A27DB-BD31-4B8C-83A1-F6EECF244321}">
                <p14:modId xmlns:p14="http://schemas.microsoft.com/office/powerpoint/2010/main" val="3471255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217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4"/>
          </p:nvPr>
        </p:nvSpPr>
        <p:spPr>
          <a:xfrm>
            <a:off x="914399" y="855406"/>
            <a:ext cx="4975121" cy="5161936"/>
          </a:xfrm>
          <a:noFill/>
        </p:spPr>
        <p:txBody>
          <a:bodyPr/>
          <a:lstStyle/>
          <a:p>
            <a:endParaRPr lang="ko-KR" altLang="en-US"/>
          </a:p>
        </p:txBody>
      </p:sp>
    </p:spTree>
    <p:extLst>
      <p:ext uri="{BB962C8B-B14F-4D97-AF65-F5344CB8AC3E}">
        <p14:creationId xmlns:p14="http://schemas.microsoft.com/office/powerpoint/2010/main" val="41298605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1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9D8A5F-E48F-5E42-A338-E65DAED70344}"/>
              </a:ext>
            </a:extLst>
          </p:cNvPr>
          <p:cNvGraphicFramePr>
            <a:graphicFrameLocks noChangeAspect="1"/>
          </p:cNvGraphicFramePr>
          <p:nvPr userDrawn="1">
            <p:custDataLst>
              <p:tags r:id="rId2"/>
            </p:custDataLst>
            <p:extLst>
              <p:ext uri="{D42A27DB-BD31-4B8C-83A1-F6EECF244321}">
                <p14:modId xmlns:p14="http://schemas.microsoft.com/office/powerpoint/2010/main" val="118919041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319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4"/>
          </p:nvPr>
        </p:nvSpPr>
        <p:spPr>
          <a:xfrm>
            <a:off x="6096000" y="0"/>
            <a:ext cx="6096000" cy="6858000"/>
          </a:xfrm>
          <a:noFill/>
        </p:spPr>
        <p:txBody>
          <a:bodyPr/>
          <a:lstStyle/>
          <a:p>
            <a:endParaRPr lang="ko-KR" altLang="en-US"/>
          </a:p>
        </p:txBody>
      </p:sp>
    </p:spTree>
    <p:extLst>
      <p:ext uri="{BB962C8B-B14F-4D97-AF65-F5344CB8AC3E}">
        <p14:creationId xmlns:p14="http://schemas.microsoft.com/office/powerpoint/2010/main" val="110093674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2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3001F96-E103-D140-AB19-8AA57103D933}"/>
              </a:ext>
            </a:extLst>
          </p:cNvPr>
          <p:cNvGraphicFramePr>
            <a:graphicFrameLocks noChangeAspect="1"/>
          </p:cNvGraphicFramePr>
          <p:nvPr userDrawn="1">
            <p:custDataLst>
              <p:tags r:id="rId2"/>
            </p:custDataLst>
            <p:extLst>
              <p:ext uri="{D42A27DB-BD31-4B8C-83A1-F6EECF244321}">
                <p14:modId xmlns:p14="http://schemas.microsoft.com/office/powerpoint/2010/main" val="38599496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421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4"/>
          </p:nvPr>
        </p:nvSpPr>
        <p:spPr>
          <a:xfrm>
            <a:off x="0" y="0"/>
            <a:ext cx="4188542" cy="6857999"/>
          </a:xfrm>
          <a:noFill/>
        </p:spPr>
        <p:txBody>
          <a:bodyPr/>
          <a:lstStyle/>
          <a:p>
            <a:endParaRPr lang="ko-KR" altLang="en-US"/>
          </a:p>
        </p:txBody>
      </p:sp>
    </p:spTree>
    <p:extLst>
      <p:ext uri="{BB962C8B-B14F-4D97-AF65-F5344CB8AC3E}">
        <p14:creationId xmlns:p14="http://schemas.microsoft.com/office/powerpoint/2010/main" val="38083952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8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73F35DB-A58F-3F4E-AD3E-AC83EB7B8402}"/>
              </a:ext>
            </a:extLst>
          </p:cNvPr>
          <p:cNvGraphicFramePr>
            <a:graphicFrameLocks noChangeAspect="1"/>
          </p:cNvGraphicFramePr>
          <p:nvPr userDrawn="1">
            <p:custDataLst>
              <p:tags r:id="rId2"/>
            </p:custDataLst>
            <p:extLst>
              <p:ext uri="{D42A27DB-BD31-4B8C-83A1-F6EECF244321}">
                <p14:modId xmlns:p14="http://schemas.microsoft.com/office/powerpoint/2010/main" val="400565331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524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4"/>
          </p:nvPr>
        </p:nvSpPr>
        <p:spPr>
          <a:xfrm>
            <a:off x="3709987" y="1362075"/>
            <a:ext cx="4772025" cy="4133850"/>
          </a:xfrm>
          <a:noFill/>
        </p:spPr>
        <p:txBody>
          <a:bodyPr/>
          <a:lstStyle/>
          <a:p>
            <a:endParaRPr lang="ko-KR" altLang="en-US"/>
          </a:p>
        </p:txBody>
      </p:sp>
    </p:spTree>
    <p:extLst>
      <p:ext uri="{BB962C8B-B14F-4D97-AF65-F5344CB8AC3E}">
        <p14:creationId xmlns:p14="http://schemas.microsoft.com/office/powerpoint/2010/main" val="611943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9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175DBD-2B5F-1447-B8CF-DA36A7C38DF4}"/>
              </a:ext>
            </a:extLst>
          </p:cNvPr>
          <p:cNvGraphicFramePr>
            <a:graphicFrameLocks noChangeAspect="1"/>
          </p:cNvGraphicFramePr>
          <p:nvPr userDrawn="1">
            <p:custDataLst>
              <p:tags r:id="rId2"/>
            </p:custDataLst>
            <p:extLst>
              <p:ext uri="{D42A27DB-BD31-4B8C-83A1-F6EECF244321}">
                <p14:modId xmlns:p14="http://schemas.microsoft.com/office/powerpoint/2010/main" val="1938566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626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4"/>
          </p:nvPr>
        </p:nvSpPr>
        <p:spPr>
          <a:xfrm>
            <a:off x="661987" y="2314575"/>
            <a:ext cx="7491413" cy="3933825"/>
          </a:xfrm>
          <a:noFill/>
        </p:spPr>
        <p:txBody>
          <a:bodyPr/>
          <a:lstStyle/>
          <a:p>
            <a:endParaRPr lang="ko-KR" altLang="en-US"/>
          </a:p>
        </p:txBody>
      </p:sp>
    </p:spTree>
    <p:extLst>
      <p:ext uri="{BB962C8B-B14F-4D97-AF65-F5344CB8AC3E}">
        <p14:creationId xmlns:p14="http://schemas.microsoft.com/office/powerpoint/2010/main" val="9292064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2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12064F3-AF35-4E48-AB74-6C45F00B74CC}"/>
              </a:ext>
            </a:extLst>
          </p:cNvPr>
          <p:cNvGraphicFramePr>
            <a:graphicFrameLocks noChangeAspect="1"/>
          </p:cNvGraphicFramePr>
          <p:nvPr userDrawn="1">
            <p:custDataLst>
              <p:tags r:id="rId2"/>
            </p:custDataLst>
            <p:extLst>
              <p:ext uri="{D42A27DB-BD31-4B8C-83A1-F6EECF244321}">
                <p14:modId xmlns:p14="http://schemas.microsoft.com/office/powerpoint/2010/main" val="372380115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729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0" y="3429000"/>
            <a:ext cx="12192000" cy="3429000"/>
          </a:xfrm>
          <a:noFill/>
        </p:spPr>
        <p:txBody>
          <a:bodyPr/>
          <a:lstStyle/>
          <a:p>
            <a:endParaRPr lang="ko-KR" altLang="en-US"/>
          </a:p>
        </p:txBody>
      </p:sp>
    </p:spTree>
    <p:extLst>
      <p:ext uri="{BB962C8B-B14F-4D97-AF65-F5344CB8AC3E}">
        <p14:creationId xmlns:p14="http://schemas.microsoft.com/office/powerpoint/2010/main" val="398807724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4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16DFF15-0915-124C-81EB-1C3A3E5E121F}"/>
              </a:ext>
            </a:extLst>
          </p:cNvPr>
          <p:cNvGraphicFramePr>
            <a:graphicFrameLocks noChangeAspect="1"/>
          </p:cNvGraphicFramePr>
          <p:nvPr userDrawn="1">
            <p:custDataLst>
              <p:tags r:id="rId2"/>
            </p:custDataLst>
            <p:extLst>
              <p:ext uri="{D42A27DB-BD31-4B8C-83A1-F6EECF244321}">
                <p14:modId xmlns:p14="http://schemas.microsoft.com/office/powerpoint/2010/main" val="4463735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831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1415847" y="1187245"/>
            <a:ext cx="3480619" cy="1993490"/>
          </a:xfrm>
          <a:noFill/>
        </p:spPr>
        <p:txBody>
          <a:bodyPr/>
          <a:lstStyle/>
          <a:p>
            <a:endParaRPr lang="ko-KR" altLang="en-US"/>
          </a:p>
        </p:txBody>
      </p:sp>
      <p:sp>
        <p:nvSpPr>
          <p:cNvPr id="3" name="그림 개체 틀 3"/>
          <p:cNvSpPr>
            <a:spLocks noGrp="1"/>
          </p:cNvSpPr>
          <p:nvPr>
            <p:ph type="pic" sz="quarter" idx="14"/>
          </p:nvPr>
        </p:nvSpPr>
        <p:spPr>
          <a:xfrm>
            <a:off x="7283247" y="3602293"/>
            <a:ext cx="3480619" cy="1993490"/>
          </a:xfrm>
          <a:noFill/>
        </p:spPr>
        <p:txBody>
          <a:bodyPr/>
          <a:lstStyle/>
          <a:p>
            <a:endParaRPr lang="ko-KR" altLang="en-US"/>
          </a:p>
        </p:txBody>
      </p:sp>
    </p:spTree>
    <p:extLst>
      <p:ext uri="{BB962C8B-B14F-4D97-AF65-F5344CB8AC3E}">
        <p14:creationId xmlns:p14="http://schemas.microsoft.com/office/powerpoint/2010/main" val="71512090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8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BE6605-C7A8-D24D-9740-876C8A5CEC86}"/>
              </a:ext>
            </a:extLst>
          </p:cNvPr>
          <p:cNvGraphicFramePr>
            <a:graphicFrameLocks noChangeAspect="1"/>
          </p:cNvGraphicFramePr>
          <p:nvPr userDrawn="1">
            <p:custDataLst>
              <p:tags r:id="rId2"/>
            </p:custDataLst>
            <p:extLst>
              <p:ext uri="{D42A27DB-BD31-4B8C-83A1-F6EECF244321}">
                <p14:modId xmlns:p14="http://schemas.microsoft.com/office/powerpoint/2010/main" val="20752081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933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그림 개체 틀 3"/>
          <p:cNvSpPr>
            <a:spLocks noGrp="1"/>
          </p:cNvSpPr>
          <p:nvPr>
            <p:ph type="pic" sz="quarter" idx="14"/>
          </p:nvPr>
        </p:nvSpPr>
        <p:spPr>
          <a:xfrm>
            <a:off x="8003458" y="1"/>
            <a:ext cx="4188542" cy="6857999"/>
          </a:xfrm>
          <a:noFill/>
        </p:spPr>
        <p:txBody>
          <a:bodyPr/>
          <a:lstStyle/>
          <a:p>
            <a:endParaRPr lang="ko-KR" altLang="en-US"/>
          </a:p>
        </p:txBody>
      </p:sp>
    </p:spTree>
    <p:extLst>
      <p:ext uri="{BB962C8B-B14F-4D97-AF65-F5344CB8AC3E}">
        <p14:creationId xmlns:p14="http://schemas.microsoft.com/office/powerpoint/2010/main" val="68082869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0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FE01187-51D0-4A41-9D58-6DEF40BA2E39}"/>
              </a:ext>
            </a:extLst>
          </p:cNvPr>
          <p:cNvGraphicFramePr>
            <a:graphicFrameLocks noChangeAspect="1"/>
          </p:cNvGraphicFramePr>
          <p:nvPr userDrawn="1">
            <p:custDataLst>
              <p:tags r:id="rId2"/>
            </p:custDataLst>
            <p:extLst>
              <p:ext uri="{D42A27DB-BD31-4B8C-83A1-F6EECF244321}">
                <p14:modId xmlns:p14="http://schemas.microsoft.com/office/powerpoint/2010/main" val="18659097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036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0" y="0"/>
            <a:ext cx="6096000" cy="3428999"/>
          </a:xfrm>
          <a:noFill/>
        </p:spPr>
        <p:txBody>
          <a:bodyPr/>
          <a:lstStyle/>
          <a:p>
            <a:endParaRPr lang="ko-KR" altLang="en-US"/>
          </a:p>
        </p:txBody>
      </p:sp>
    </p:spTree>
    <p:extLst>
      <p:ext uri="{BB962C8B-B14F-4D97-AF65-F5344CB8AC3E}">
        <p14:creationId xmlns:p14="http://schemas.microsoft.com/office/powerpoint/2010/main" val="371424839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3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937CC3-FF05-B24E-94A6-5D1C46EAFC13}"/>
              </a:ext>
            </a:extLst>
          </p:cNvPr>
          <p:cNvGraphicFramePr>
            <a:graphicFrameLocks noChangeAspect="1"/>
          </p:cNvGraphicFramePr>
          <p:nvPr userDrawn="1">
            <p:custDataLst>
              <p:tags r:id="rId2"/>
            </p:custDataLst>
            <p:extLst>
              <p:ext uri="{D42A27DB-BD31-4B8C-83A1-F6EECF244321}">
                <p14:modId xmlns:p14="http://schemas.microsoft.com/office/powerpoint/2010/main" val="5321518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138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1" y="0"/>
            <a:ext cx="7639665" cy="6858000"/>
          </a:xfrm>
          <a:noFill/>
        </p:spPr>
        <p:txBody>
          <a:bodyPr/>
          <a:lstStyle/>
          <a:p>
            <a:endParaRPr lang="ko-KR" altLang="en-US"/>
          </a:p>
        </p:txBody>
      </p:sp>
    </p:spTree>
    <p:extLst>
      <p:ext uri="{BB962C8B-B14F-4D97-AF65-F5344CB8AC3E}">
        <p14:creationId xmlns:p14="http://schemas.microsoft.com/office/powerpoint/2010/main" val="14824749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7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A58C00-A5E0-4342-9D85-8480A7415ED9}"/>
              </a:ext>
            </a:extLst>
          </p:cNvPr>
          <p:cNvGraphicFramePr>
            <a:graphicFrameLocks noChangeAspect="1"/>
          </p:cNvGraphicFramePr>
          <p:nvPr userDrawn="1">
            <p:custDataLst>
              <p:tags r:id="rId2"/>
            </p:custDataLst>
            <p:extLst>
              <p:ext uri="{D42A27DB-BD31-4B8C-83A1-F6EECF244321}">
                <p14:modId xmlns:p14="http://schemas.microsoft.com/office/powerpoint/2010/main" val="11078566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397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2"/>
          </p:nvPr>
        </p:nvSpPr>
        <p:spPr>
          <a:xfrm>
            <a:off x="0" y="0"/>
            <a:ext cx="6096000" cy="6858000"/>
          </a:xfrm>
          <a:noFill/>
        </p:spPr>
        <p:txBody>
          <a:bodyPr/>
          <a:lstStyle/>
          <a:p>
            <a:endParaRPr lang="ko-KR" altLang="en-US"/>
          </a:p>
        </p:txBody>
      </p:sp>
    </p:spTree>
    <p:extLst>
      <p:ext uri="{BB962C8B-B14F-4D97-AF65-F5344CB8AC3E}">
        <p14:creationId xmlns:p14="http://schemas.microsoft.com/office/powerpoint/2010/main" val="28356335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4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4328B3C-8F2C-284C-BBEB-4838FE0A640F}"/>
              </a:ext>
            </a:extLst>
          </p:cNvPr>
          <p:cNvGraphicFramePr>
            <a:graphicFrameLocks noChangeAspect="1"/>
          </p:cNvGraphicFramePr>
          <p:nvPr userDrawn="1">
            <p:custDataLst>
              <p:tags r:id="rId2"/>
            </p:custDataLst>
            <p:extLst>
              <p:ext uri="{D42A27DB-BD31-4B8C-83A1-F6EECF244321}">
                <p14:modId xmlns:p14="http://schemas.microsoft.com/office/powerpoint/2010/main" val="41091036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241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6440128" y="1076630"/>
            <a:ext cx="4704737" cy="4704737"/>
          </a:xfrm>
          <a:noFill/>
        </p:spPr>
        <p:txBody>
          <a:bodyPr/>
          <a:lstStyle/>
          <a:p>
            <a:endParaRPr lang="ko-KR" altLang="en-US"/>
          </a:p>
        </p:txBody>
      </p:sp>
    </p:spTree>
    <p:extLst>
      <p:ext uri="{BB962C8B-B14F-4D97-AF65-F5344CB8AC3E}">
        <p14:creationId xmlns:p14="http://schemas.microsoft.com/office/powerpoint/2010/main" val="14349749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5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41A2877-9CC5-6C4F-BE0B-22BB7737C230}"/>
              </a:ext>
            </a:extLst>
          </p:cNvPr>
          <p:cNvGraphicFramePr>
            <a:graphicFrameLocks noChangeAspect="1"/>
          </p:cNvGraphicFramePr>
          <p:nvPr userDrawn="1">
            <p:custDataLst>
              <p:tags r:id="rId2"/>
            </p:custDataLst>
            <p:extLst>
              <p:ext uri="{D42A27DB-BD31-4B8C-83A1-F6EECF244321}">
                <p14:modId xmlns:p14="http://schemas.microsoft.com/office/powerpoint/2010/main" val="39982551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343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0" y="2"/>
            <a:ext cx="12192000" cy="3923070"/>
          </a:xfrm>
          <a:noFill/>
        </p:spPr>
        <p:txBody>
          <a:bodyPr/>
          <a:lstStyle/>
          <a:p>
            <a:endParaRPr lang="ko-KR" altLang="en-US"/>
          </a:p>
        </p:txBody>
      </p:sp>
    </p:spTree>
    <p:extLst>
      <p:ext uri="{BB962C8B-B14F-4D97-AF65-F5344CB8AC3E}">
        <p14:creationId xmlns:p14="http://schemas.microsoft.com/office/powerpoint/2010/main" val="7796393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6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4EB0150-2C46-E641-958E-BD3012BB8959}"/>
              </a:ext>
            </a:extLst>
          </p:cNvPr>
          <p:cNvGraphicFramePr>
            <a:graphicFrameLocks noChangeAspect="1"/>
          </p:cNvGraphicFramePr>
          <p:nvPr userDrawn="1">
            <p:custDataLst>
              <p:tags r:id="rId2"/>
            </p:custDataLst>
            <p:extLst>
              <p:ext uri="{D42A27DB-BD31-4B8C-83A1-F6EECF244321}">
                <p14:modId xmlns:p14="http://schemas.microsoft.com/office/powerpoint/2010/main" val="23690543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445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0" y="2"/>
            <a:ext cx="4495800" cy="5105398"/>
          </a:xfrm>
          <a:noFill/>
        </p:spPr>
        <p:txBody>
          <a:bodyPr/>
          <a:lstStyle/>
          <a:p>
            <a:endParaRPr lang="ko-KR" altLang="en-US"/>
          </a:p>
        </p:txBody>
      </p:sp>
    </p:spTree>
    <p:extLst>
      <p:ext uri="{BB962C8B-B14F-4D97-AF65-F5344CB8AC3E}">
        <p14:creationId xmlns:p14="http://schemas.microsoft.com/office/powerpoint/2010/main" val="24227636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7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53B6B4-7E44-B741-953E-FDBC8F1AC724}"/>
              </a:ext>
            </a:extLst>
          </p:cNvPr>
          <p:cNvGraphicFramePr>
            <a:graphicFrameLocks noChangeAspect="1"/>
          </p:cNvGraphicFramePr>
          <p:nvPr userDrawn="1">
            <p:custDataLst>
              <p:tags r:id="rId2"/>
            </p:custDataLst>
            <p:extLst>
              <p:ext uri="{D42A27DB-BD31-4B8C-83A1-F6EECF244321}">
                <p14:modId xmlns:p14="http://schemas.microsoft.com/office/powerpoint/2010/main" val="439215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548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873457" y="723331"/>
            <a:ext cx="10481481" cy="5390866"/>
          </a:xfrm>
          <a:noFill/>
        </p:spPr>
        <p:txBody>
          <a:bodyPr/>
          <a:lstStyle/>
          <a:p>
            <a:endParaRPr lang="ko-KR" altLang="en-US"/>
          </a:p>
        </p:txBody>
      </p:sp>
    </p:spTree>
    <p:extLst>
      <p:ext uri="{BB962C8B-B14F-4D97-AF65-F5344CB8AC3E}">
        <p14:creationId xmlns:p14="http://schemas.microsoft.com/office/powerpoint/2010/main" val="15302567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0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B422CF-6501-AF4F-91B8-08E923EAECDF}"/>
              </a:ext>
            </a:extLst>
          </p:cNvPr>
          <p:cNvGraphicFramePr>
            <a:graphicFrameLocks noChangeAspect="1"/>
          </p:cNvGraphicFramePr>
          <p:nvPr userDrawn="1">
            <p:custDataLst>
              <p:tags r:id="rId2"/>
            </p:custDataLst>
            <p:extLst>
              <p:ext uri="{D42A27DB-BD31-4B8C-83A1-F6EECF244321}">
                <p14:modId xmlns:p14="http://schemas.microsoft.com/office/powerpoint/2010/main" val="287071761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650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639414" y="1"/>
            <a:ext cx="4511343" cy="6858000"/>
          </a:xfrm>
          <a:noFill/>
        </p:spPr>
        <p:txBody>
          <a:bodyPr/>
          <a:lstStyle/>
          <a:p>
            <a:endParaRPr lang="ko-KR" altLang="en-US"/>
          </a:p>
        </p:txBody>
      </p:sp>
    </p:spTree>
    <p:extLst>
      <p:ext uri="{BB962C8B-B14F-4D97-AF65-F5344CB8AC3E}">
        <p14:creationId xmlns:p14="http://schemas.microsoft.com/office/powerpoint/2010/main" val="25515445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1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64503E1-EC34-344A-85C3-8DB287E33F42}"/>
              </a:ext>
            </a:extLst>
          </p:cNvPr>
          <p:cNvGraphicFramePr>
            <a:graphicFrameLocks noChangeAspect="1"/>
          </p:cNvGraphicFramePr>
          <p:nvPr userDrawn="1">
            <p:custDataLst>
              <p:tags r:id="rId2"/>
            </p:custDataLst>
            <p:extLst>
              <p:ext uri="{D42A27DB-BD31-4B8C-83A1-F6EECF244321}">
                <p14:modId xmlns:p14="http://schemas.microsoft.com/office/powerpoint/2010/main" val="36736648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753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6125814" y="1785258"/>
            <a:ext cx="6066186" cy="3396343"/>
          </a:xfrm>
          <a:noFill/>
        </p:spPr>
        <p:txBody>
          <a:bodyPr/>
          <a:lstStyle/>
          <a:p>
            <a:endParaRPr lang="ko-KR" altLang="en-US"/>
          </a:p>
        </p:txBody>
      </p:sp>
    </p:spTree>
    <p:extLst>
      <p:ext uri="{BB962C8B-B14F-4D97-AF65-F5344CB8AC3E}">
        <p14:creationId xmlns:p14="http://schemas.microsoft.com/office/powerpoint/2010/main" val="7195985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2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A6778C-AB69-1C4B-B095-8638F14E0EB6}"/>
              </a:ext>
            </a:extLst>
          </p:cNvPr>
          <p:cNvGraphicFramePr>
            <a:graphicFrameLocks noChangeAspect="1"/>
          </p:cNvGraphicFramePr>
          <p:nvPr userDrawn="1">
            <p:custDataLst>
              <p:tags r:id="rId2"/>
            </p:custDataLst>
            <p:extLst>
              <p:ext uri="{D42A27DB-BD31-4B8C-83A1-F6EECF244321}">
                <p14:modId xmlns:p14="http://schemas.microsoft.com/office/powerpoint/2010/main" val="40969221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855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3" name="그림 개체 틀 3"/>
          <p:cNvSpPr>
            <a:spLocks noGrp="1"/>
          </p:cNvSpPr>
          <p:nvPr>
            <p:ph type="pic" sz="quarter" idx="15"/>
          </p:nvPr>
        </p:nvSpPr>
        <p:spPr>
          <a:xfrm>
            <a:off x="1031300" y="1132115"/>
            <a:ext cx="6066186" cy="4659085"/>
          </a:xfrm>
          <a:noFill/>
        </p:spPr>
        <p:txBody>
          <a:bodyPr/>
          <a:lstStyle/>
          <a:p>
            <a:endParaRPr lang="ko-KR" altLang="en-US"/>
          </a:p>
        </p:txBody>
      </p:sp>
    </p:spTree>
    <p:extLst>
      <p:ext uri="{BB962C8B-B14F-4D97-AF65-F5344CB8AC3E}">
        <p14:creationId xmlns:p14="http://schemas.microsoft.com/office/powerpoint/2010/main" val="167753080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3_제목 슬라이드">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89D70DC-1AAB-9742-B77A-9C2B43756079}"/>
              </a:ext>
            </a:extLst>
          </p:cNvPr>
          <p:cNvGraphicFramePr>
            <a:graphicFrameLocks noChangeAspect="1"/>
          </p:cNvGraphicFramePr>
          <p:nvPr userDrawn="1">
            <p:custDataLst>
              <p:tags r:id="rId2"/>
            </p:custDataLst>
            <p:extLst>
              <p:ext uri="{D42A27DB-BD31-4B8C-83A1-F6EECF244321}">
                <p14:modId xmlns:p14="http://schemas.microsoft.com/office/powerpoint/2010/main" val="27646879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957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제목 4">
            <a:extLst>
              <a:ext uri="{FF2B5EF4-FFF2-40B4-BE49-F238E27FC236}">
                <a16:creationId xmlns:a16="http://schemas.microsoft.com/office/drawing/2014/main" id="{E3A7BE2D-2DD8-4BDB-88E3-31284F580A46}"/>
              </a:ext>
            </a:extLst>
          </p:cNvPr>
          <p:cNvSpPr>
            <a:spLocks noGrp="1"/>
          </p:cNvSpPr>
          <p:nvPr>
            <p:ph type="title" hasCustomPrompt="1"/>
          </p:nvPr>
        </p:nvSpPr>
        <p:spPr>
          <a:xfrm>
            <a:off x="1166559" y="2120612"/>
            <a:ext cx="4929441" cy="1794163"/>
          </a:xfrm>
        </p:spPr>
        <p:txBody>
          <a:bodyPr vert="horz" anchor="t">
            <a:normAutofit/>
          </a:bodyPr>
          <a:lstStyle>
            <a:lvl1pPr>
              <a:lnSpc>
                <a:spcPct val="100000"/>
              </a:lnSpc>
              <a:defRPr sz="3200" spc="300">
                <a:solidFill>
                  <a:schemeClr val="bg1"/>
                </a:solidFill>
                <a:latin typeface="+mj-lt"/>
              </a:defRPr>
            </a:lvl1pPr>
          </a:lstStyle>
          <a:p>
            <a:r>
              <a:rPr lang="en-US" altLang="ko-KR" dirty="0"/>
              <a:t>INSERT</a:t>
            </a:r>
            <a:r>
              <a:rPr lang="ko-KR" altLang="en-US" dirty="0"/>
              <a:t> </a:t>
            </a:r>
            <a:r>
              <a:rPr lang="en-US" altLang="ko-KR" dirty="0"/>
              <a:t>TITLE</a:t>
            </a:r>
            <a:endParaRPr lang="ko-KR" altLang="en-US" dirty="0"/>
          </a:p>
        </p:txBody>
      </p:sp>
    </p:spTree>
    <p:extLst>
      <p:ext uri="{BB962C8B-B14F-4D97-AF65-F5344CB8AC3E}">
        <p14:creationId xmlns:p14="http://schemas.microsoft.com/office/powerpoint/2010/main" val="355887829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4_제목 슬라이드">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A0B1F34-7F2A-284A-BE56-2A810E363DA5}"/>
              </a:ext>
            </a:extLst>
          </p:cNvPr>
          <p:cNvGraphicFramePr>
            <a:graphicFrameLocks noChangeAspect="1"/>
          </p:cNvGraphicFramePr>
          <p:nvPr userDrawn="1">
            <p:custDataLst>
              <p:tags r:id="rId2"/>
            </p:custDataLst>
            <p:extLst>
              <p:ext uri="{D42A27DB-BD31-4B8C-83A1-F6EECF244321}">
                <p14:modId xmlns:p14="http://schemas.microsoft.com/office/powerpoint/2010/main" val="16749239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060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제목 4">
            <a:extLst>
              <a:ext uri="{FF2B5EF4-FFF2-40B4-BE49-F238E27FC236}">
                <a16:creationId xmlns:a16="http://schemas.microsoft.com/office/drawing/2014/main" id="{E3A7BE2D-2DD8-4BDB-88E3-31284F580A46}"/>
              </a:ext>
            </a:extLst>
          </p:cNvPr>
          <p:cNvSpPr>
            <a:spLocks noGrp="1"/>
          </p:cNvSpPr>
          <p:nvPr>
            <p:ph type="title" hasCustomPrompt="1"/>
          </p:nvPr>
        </p:nvSpPr>
        <p:spPr>
          <a:xfrm>
            <a:off x="7259895" y="1545495"/>
            <a:ext cx="4929441" cy="1794163"/>
          </a:xfrm>
        </p:spPr>
        <p:txBody>
          <a:bodyPr vert="horz" anchor="t">
            <a:normAutofit/>
          </a:bodyPr>
          <a:lstStyle>
            <a:lvl1pPr>
              <a:lnSpc>
                <a:spcPct val="100000"/>
              </a:lnSpc>
              <a:defRPr sz="3200" spc="300">
                <a:solidFill>
                  <a:schemeClr val="bg1"/>
                </a:solidFill>
                <a:latin typeface="+mj-lt"/>
              </a:defRPr>
            </a:lvl1pPr>
          </a:lstStyle>
          <a:p>
            <a:r>
              <a:rPr lang="en-US" altLang="ko-KR" dirty="0"/>
              <a:t>INSERT</a:t>
            </a:r>
            <a:r>
              <a:rPr lang="ko-KR" altLang="en-US" dirty="0"/>
              <a:t> </a:t>
            </a:r>
            <a:r>
              <a:rPr lang="en-US" altLang="ko-KR" dirty="0"/>
              <a:t>TITLE</a:t>
            </a:r>
            <a:endParaRPr lang="ko-KR" altLang="en-US" dirty="0"/>
          </a:p>
        </p:txBody>
      </p:sp>
    </p:spTree>
    <p:extLst>
      <p:ext uri="{BB962C8B-B14F-4D97-AF65-F5344CB8AC3E}">
        <p14:creationId xmlns:p14="http://schemas.microsoft.com/office/powerpoint/2010/main" val="249770617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5_제목 슬라이드">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F92765-E553-414B-A394-93DEE9D4A510}"/>
              </a:ext>
            </a:extLst>
          </p:cNvPr>
          <p:cNvGraphicFramePr>
            <a:graphicFrameLocks noChangeAspect="1"/>
          </p:cNvGraphicFramePr>
          <p:nvPr userDrawn="1">
            <p:custDataLst>
              <p:tags r:id="rId2"/>
            </p:custDataLst>
            <p:extLst>
              <p:ext uri="{D42A27DB-BD31-4B8C-83A1-F6EECF244321}">
                <p14:modId xmlns:p14="http://schemas.microsoft.com/office/powerpoint/2010/main" val="42904509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162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제목 4">
            <a:extLst>
              <a:ext uri="{FF2B5EF4-FFF2-40B4-BE49-F238E27FC236}">
                <a16:creationId xmlns:a16="http://schemas.microsoft.com/office/drawing/2014/main" id="{E3A7BE2D-2DD8-4BDB-88E3-31284F580A46}"/>
              </a:ext>
            </a:extLst>
          </p:cNvPr>
          <p:cNvSpPr>
            <a:spLocks noGrp="1"/>
          </p:cNvSpPr>
          <p:nvPr>
            <p:ph type="title" hasCustomPrompt="1"/>
          </p:nvPr>
        </p:nvSpPr>
        <p:spPr>
          <a:xfrm>
            <a:off x="747009" y="718143"/>
            <a:ext cx="10397241" cy="977307"/>
          </a:xfrm>
        </p:spPr>
        <p:txBody>
          <a:bodyPr vert="horz" anchor="t">
            <a:normAutofit/>
          </a:bodyPr>
          <a:lstStyle>
            <a:lvl1pPr>
              <a:lnSpc>
                <a:spcPct val="100000"/>
              </a:lnSpc>
              <a:defRPr sz="3200" spc="300">
                <a:solidFill>
                  <a:schemeClr val="bg1"/>
                </a:solidFill>
                <a:latin typeface="+mj-lt"/>
              </a:defRPr>
            </a:lvl1pPr>
          </a:lstStyle>
          <a:p>
            <a:r>
              <a:rPr lang="en-US" altLang="ko-KR"/>
              <a:t>INSERT</a:t>
            </a:r>
            <a:r>
              <a:rPr lang="ko-KR" altLang="en-US"/>
              <a:t> </a:t>
            </a:r>
            <a:r>
              <a:rPr lang="en-US" altLang="ko-KR"/>
              <a:t>TITLE</a:t>
            </a:r>
            <a:endParaRPr lang="ko-KR" altLang="en-US" dirty="0"/>
          </a:p>
        </p:txBody>
      </p:sp>
    </p:spTree>
    <p:extLst>
      <p:ext uri="{BB962C8B-B14F-4D97-AF65-F5344CB8AC3E}">
        <p14:creationId xmlns:p14="http://schemas.microsoft.com/office/powerpoint/2010/main" val="1377564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DC346D-C052-A448-A353-7CEA72F3B02E}"/>
              </a:ext>
            </a:extLst>
          </p:cNvPr>
          <p:cNvGraphicFramePr>
            <a:graphicFrameLocks noChangeAspect="1"/>
          </p:cNvGraphicFramePr>
          <p:nvPr userDrawn="1">
            <p:custDataLst>
              <p:tags r:id="rId2"/>
            </p:custDataLst>
            <p:extLst>
              <p:ext uri="{D42A27DB-BD31-4B8C-83A1-F6EECF244321}">
                <p14:modId xmlns:p14="http://schemas.microsoft.com/office/powerpoint/2010/main" val="12441626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500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7200901" y="1219200"/>
            <a:ext cx="3524249" cy="3486150"/>
          </a:xfrm>
          <a:noFill/>
        </p:spPr>
        <p:txBody>
          <a:bodyPr/>
          <a:lstStyle/>
          <a:p>
            <a:endParaRPr lang="ko-KR" altLang="en-US"/>
          </a:p>
        </p:txBody>
      </p:sp>
    </p:spTree>
    <p:extLst>
      <p:ext uri="{BB962C8B-B14F-4D97-AF65-F5344CB8AC3E}">
        <p14:creationId xmlns:p14="http://schemas.microsoft.com/office/powerpoint/2010/main" val="374300729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8_제목 슬라이드">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024872-1B6F-7841-B728-ACE0EB297CDC}"/>
              </a:ext>
            </a:extLst>
          </p:cNvPr>
          <p:cNvGraphicFramePr>
            <a:graphicFrameLocks noChangeAspect="1"/>
          </p:cNvGraphicFramePr>
          <p:nvPr userDrawn="1">
            <p:custDataLst>
              <p:tags r:id="rId2"/>
            </p:custDataLst>
            <p:extLst>
              <p:ext uri="{D42A27DB-BD31-4B8C-83A1-F6EECF244321}">
                <p14:modId xmlns:p14="http://schemas.microsoft.com/office/powerpoint/2010/main" val="32571959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265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7" name="그림 개체 틀 6">
            <a:extLst>
              <a:ext uri="{FF2B5EF4-FFF2-40B4-BE49-F238E27FC236}">
                <a16:creationId xmlns:a16="http://schemas.microsoft.com/office/drawing/2014/main" id="{ECB10A25-D824-4C48-9C65-F9632BD8AA18}"/>
              </a:ext>
            </a:extLst>
          </p:cNvPr>
          <p:cNvSpPr>
            <a:spLocks noGrp="1"/>
          </p:cNvSpPr>
          <p:nvPr>
            <p:ph type="pic" sz="quarter" idx="10"/>
          </p:nvPr>
        </p:nvSpPr>
        <p:spPr>
          <a:xfrm>
            <a:off x="5067480" y="3264972"/>
            <a:ext cx="2023366" cy="2023366"/>
          </a:xfrm>
          <a:custGeom>
            <a:avLst/>
            <a:gdLst>
              <a:gd name="connsiteX0" fmla="*/ 1011683 w 2023366"/>
              <a:gd name="connsiteY0" fmla="*/ 0 h 2023366"/>
              <a:gd name="connsiteX1" fmla="*/ 2023366 w 2023366"/>
              <a:gd name="connsiteY1" fmla="*/ 1011683 h 2023366"/>
              <a:gd name="connsiteX2" fmla="*/ 1011683 w 2023366"/>
              <a:gd name="connsiteY2" fmla="*/ 2023366 h 2023366"/>
              <a:gd name="connsiteX3" fmla="*/ 0 w 2023366"/>
              <a:gd name="connsiteY3" fmla="*/ 1011683 h 2023366"/>
              <a:gd name="connsiteX4" fmla="*/ 1011683 w 2023366"/>
              <a:gd name="connsiteY4" fmla="*/ 0 h 2023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3366" h="2023366">
                <a:moveTo>
                  <a:pt x="1011683" y="0"/>
                </a:moveTo>
                <a:cubicBezTo>
                  <a:pt x="1570420" y="0"/>
                  <a:pt x="2023366" y="452946"/>
                  <a:pt x="2023366" y="1011683"/>
                </a:cubicBezTo>
                <a:cubicBezTo>
                  <a:pt x="2023366" y="1570420"/>
                  <a:pt x="1570420" y="2023366"/>
                  <a:pt x="1011683" y="2023366"/>
                </a:cubicBezTo>
                <a:cubicBezTo>
                  <a:pt x="452946" y="2023366"/>
                  <a:pt x="0" y="1570420"/>
                  <a:pt x="0" y="1011683"/>
                </a:cubicBezTo>
                <a:cubicBezTo>
                  <a:pt x="0" y="452946"/>
                  <a:pt x="452946" y="0"/>
                  <a:pt x="1011683" y="0"/>
                </a:cubicBezTo>
                <a:close/>
              </a:path>
            </a:pathLst>
          </a:custGeom>
          <a:ln>
            <a:noFill/>
          </a:ln>
        </p:spPr>
        <p:txBody>
          <a:bodyPr wrap="square">
            <a:noAutofit/>
          </a:bodyPr>
          <a:lstStyle/>
          <a:p>
            <a:endParaRPr lang="ko-KR" altLang="en-US"/>
          </a:p>
        </p:txBody>
      </p:sp>
      <p:sp>
        <p:nvSpPr>
          <p:cNvPr id="8" name="제목 4">
            <a:extLst>
              <a:ext uri="{FF2B5EF4-FFF2-40B4-BE49-F238E27FC236}">
                <a16:creationId xmlns:a16="http://schemas.microsoft.com/office/drawing/2014/main" id="{747F7557-FB35-4E0D-B852-EE763FA958DE}"/>
              </a:ext>
            </a:extLst>
          </p:cNvPr>
          <p:cNvSpPr>
            <a:spLocks noGrp="1"/>
          </p:cNvSpPr>
          <p:nvPr>
            <p:ph type="title" hasCustomPrompt="1"/>
          </p:nvPr>
        </p:nvSpPr>
        <p:spPr>
          <a:xfrm>
            <a:off x="7259895" y="1545495"/>
            <a:ext cx="4929441" cy="1794163"/>
          </a:xfrm>
        </p:spPr>
        <p:txBody>
          <a:bodyPr vert="horz" anchor="t">
            <a:normAutofit/>
          </a:bodyPr>
          <a:lstStyle>
            <a:lvl1pPr>
              <a:lnSpc>
                <a:spcPct val="100000"/>
              </a:lnSpc>
              <a:defRPr sz="3200" spc="300">
                <a:solidFill>
                  <a:schemeClr val="bg1"/>
                </a:solidFill>
                <a:latin typeface="+mj-lt"/>
              </a:defRPr>
            </a:lvl1pPr>
          </a:lstStyle>
          <a:p>
            <a:r>
              <a:rPr lang="en-US" altLang="ko-KR" dirty="0"/>
              <a:t>INSERT</a:t>
            </a:r>
            <a:r>
              <a:rPr lang="ko-KR" altLang="en-US" dirty="0"/>
              <a:t> </a:t>
            </a:r>
            <a:r>
              <a:rPr lang="en-US" altLang="ko-KR" dirty="0"/>
              <a:t>TITLE</a:t>
            </a:r>
            <a:endParaRPr lang="ko-KR" altLang="en-US" dirty="0"/>
          </a:p>
        </p:txBody>
      </p:sp>
    </p:spTree>
    <p:extLst>
      <p:ext uri="{BB962C8B-B14F-4D97-AF65-F5344CB8AC3E}">
        <p14:creationId xmlns:p14="http://schemas.microsoft.com/office/powerpoint/2010/main" val="2625389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7_제목 슬라이드">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F091C7D-0CA0-1042-972A-C88B56C6190C}"/>
              </a:ext>
            </a:extLst>
          </p:cNvPr>
          <p:cNvGraphicFramePr>
            <a:graphicFrameLocks noChangeAspect="1"/>
          </p:cNvGraphicFramePr>
          <p:nvPr userDrawn="1">
            <p:custDataLst>
              <p:tags r:id="rId2"/>
            </p:custDataLst>
            <p:extLst>
              <p:ext uri="{D42A27DB-BD31-4B8C-83A1-F6EECF244321}">
                <p14:modId xmlns:p14="http://schemas.microsoft.com/office/powerpoint/2010/main" val="24821380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367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직사각형 4">
            <a:extLst>
              <a:ext uri="{FF2B5EF4-FFF2-40B4-BE49-F238E27FC236}">
                <a16:creationId xmlns:a16="http://schemas.microsoft.com/office/drawing/2014/main" id="{9074DDBC-9582-4BCF-AC85-A1B3F8080D48}"/>
              </a:ext>
            </a:extLst>
          </p:cNvPr>
          <p:cNvSpPr/>
          <p:nvPr userDrawn="1"/>
        </p:nvSpPr>
        <p:spPr>
          <a:xfrm>
            <a:off x="1" y="3324224"/>
            <a:ext cx="12192000" cy="3533776"/>
          </a:xfrm>
          <a:prstGeom prst="rect">
            <a:avLst/>
          </a:prstGeom>
          <a:gradFill>
            <a:gsLst>
              <a:gs pos="0">
                <a:srgbClr val="B34768">
                  <a:alpha val="35000"/>
                </a:srgbClr>
              </a:gs>
              <a:gs pos="100000">
                <a:srgbClr val="3E8E86">
                  <a:alpha val="4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 name="그림 1">
            <a:extLst>
              <a:ext uri="{FF2B5EF4-FFF2-40B4-BE49-F238E27FC236}">
                <a16:creationId xmlns:a16="http://schemas.microsoft.com/office/drawing/2014/main" id="{707C71F1-C1C7-4D4A-8B13-D135D2380C2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314949" y="1416044"/>
            <a:ext cx="5715002" cy="2806712"/>
          </a:xfrm>
          <a:prstGeom prst="rect">
            <a:avLst/>
          </a:prstGeom>
        </p:spPr>
      </p:pic>
      <p:sp>
        <p:nvSpPr>
          <p:cNvPr id="3" name="그림 개체 틀 8">
            <a:extLst>
              <a:ext uri="{FF2B5EF4-FFF2-40B4-BE49-F238E27FC236}">
                <a16:creationId xmlns:a16="http://schemas.microsoft.com/office/drawing/2014/main" id="{A4E7B3D0-B285-40BD-8475-48D60AB2F4D2}"/>
              </a:ext>
            </a:extLst>
          </p:cNvPr>
          <p:cNvSpPr>
            <a:spLocks noGrp="1"/>
          </p:cNvSpPr>
          <p:nvPr>
            <p:ph type="pic" sz="quarter" idx="13"/>
          </p:nvPr>
        </p:nvSpPr>
        <p:spPr>
          <a:xfrm>
            <a:off x="5413375" y="1530349"/>
            <a:ext cx="5518150" cy="2540001"/>
          </a:xfrm>
          <a:prstGeom prst="roundRect">
            <a:avLst>
              <a:gd name="adj" fmla="val 10667"/>
            </a:avLst>
          </a:prstGeom>
          <a:effectLst>
            <a:innerShdw blurRad="114300">
              <a:prstClr val="black">
                <a:alpha val="50000"/>
              </a:prstClr>
            </a:innerShdw>
          </a:effectLst>
        </p:spPr>
        <p:txBody>
          <a:bodyPr/>
          <a:lstStyle/>
          <a:p>
            <a:endParaRPr lang="ko-KR" altLang="en-US"/>
          </a:p>
        </p:txBody>
      </p:sp>
    </p:spTree>
    <p:extLst>
      <p:ext uri="{BB962C8B-B14F-4D97-AF65-F5344CB8AC3E}">
        <p14:creationId xmlns:p14="http://schemas.microsoft.com/office/powerpoint/2010/main" val="2044007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6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BC8971-3908-8543-89CF-127B567B55BB}"/>
              </a:ext>
            </a:extLst>
          </p:cNvPr>
          <p:cNvGraphicFramePr>
            <a:graphicFrameLocks noChangeAspect="1"/>
          </p:cNvGraphicFramePr>
          <p:nvPr userDrawn="1">
            <p:custDataLst>
              <p:tags r:id="rId2"/>
            </p:custDataLst>
            <p:extLst>
              <p:ext uri="{D42A27DB-BD31-4B8C-83A1-F6EECF244321}">
                <p14:modId xmlns:p14="http://schemas.microsoft.com/office/powerpoint/2010/main" val="11662090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46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Tree>
    <p:extLst>
      <p:ext uri="{BB962C8B-B14F-4D97-AF65-F5344CB8AC3E}">
        <p14:creationId xmlns:p14="http://schemas.microsoft.com/office/powerpoint/2010/main" val="180832225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CECB7A-3FD2-9745-A8FF-FED82F58C620}"/>
              </a:ext>
            </a:extLst>
          </p:cNvPr>
          <p:cNvGraphicFramePr>
            <a:graphicFrameLocks noChangeAspect="1"/>
          </p:cNvGraphicFramePr>
          <p:nvPr userDrawn="1">
            <p:custDataLst>
              <p:tags r:id="rId2"/>
            </p:custDataLst>
            <p:extLst>
              <p:ext uri="{D42A27DB-BD31-4B8C-83A1-F6EECF244321}">
                <p14:modId xmlns:p14="http://schemas.microsoft.com/office/powerpoint/2010/main" val="564754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572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85979D02-DB8F-44FC-B5FA-EE0FB805CEFD}"/>
              </a:ext>
            </a:extLst>
          </p:cNvPr>
          <p:cNvSpPr>
            <a:spLocks noGrp="1"/>
          </p:cNvSpPr>
          <p:nvPr>
            <p:ph type="dt" sz="half" idx="10"/>
          </p:nvPr>
        </p:nvSpPr>
        <p:spPr/>
        <p:txBody>
          <a:bodyPr/>
          <a:lstStyle/>
          <a:p>
            <a:fld id="{5E97491E-6243-4B39-BF8B-495A6749A6A1}" type="datetimeFigureOut">
              <a:rPr lang="en-US" smtClean="0"/>
              <a:t>10/3/21</a:t>
            </a:fld>
            <a:endParaRPr lang="en-US"/>
          </a:p>
        </p:txBody>
      </p:sp>
      <p:sp>
        <p:nvSpPr>
          <p:cNvPr id="3" name="Footer Placeholder 2">
            <a:extLst>
              <a:ext uri="{FF2B5EF4-FFF2-40B4-BE49-F238E27FC236}">
                <a16:creationId xmlns:a16="http://schemas.microsoft.com/office/drawing/2014/main" id="{FE04EC49-DE0E-437B-9672-7E934F4DA65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73FC7BB-1E5F-4090-9E55-6BA8F7206899}"/>
              </a:ext>
            </a:extLst>
          </p:cNvPr>
          <p:cNvSpPr>
            <a:spLocks noGrp="1"/>
          </p:cNvSpPr>
          <p:nvPr>
            <p:ph type="sldNum" sz="quarter" idx="12"/>
          </p:nvPr>
        </p:nvSpPr>
        <p:spPr/>
        <p:txBody>
          <a:bodyPr/>
          <a:lstStyle/>
          <a:p>
            <a:fld id="{70D005CF-B473-4FB8-9FE2-DD8BD0338016}" type="slidenum">
              <a:rPr lang="en-US" smtClean="0"/>
              <a:t>‹#›</a:t>
            </a:fld>
            <a:endParaRPr lang="en-US"/>
          </a:p>
        </p:txBody>
      </p:sp>
    </p:spTree>
    <p:extLst>
      <p:ext uri="{BB962C8B-B14F-4D97-AF65-F5344CB8AC3E}">
        <p14:creationId xmlns:p14="http://schemas.microsoft.com/office/powerpoint/2010/main" val="21578707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0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077175-BE6E-1E4D-8523-472A1430C51C}"/>
              </a:ext>
            </a:extLst>
          </p:cNvPr>
          <p:cNvGraphicFramePr>
            <a:graphicFrameLocks noChangeAspect="1"/>
          </p:cNvGraphicFramePr>
          <p:nvPr userDrawn="1">
            <p:custDataLst>
              <p:tags r:id="rId2"/>
            </p:custDataLst>
            <p:extLst>
              <p:ext uri="{D42A27DB-BD31-4B8C-83A1-F6EECF244321}">
                <p14:modId xmlns:p14="http://schemas.microsoft.com/office/powerpoint/2010/main" val="8214902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602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0" y="0"/>
            <a:ext cx="12192000" cy="3429000"/>
          </a:xfrm>
          <a:noFill/>
        </p:spPr>
        <p:txBody>
          <a:bodyPr/>
          <a:lstStyle/>
          <a:p>
            <a:endParaRPr lang="ko-KR" altLang="en-US"/>
          </a:p>
        </p:txBody>
      </p:sp>
    </p:spTree>
    <p:extLst>
      <p:ext uri="{BB962C8B-B14F-4D97-AF65-F5344CB8AC3E}">
        <p14:creationId xmlns:p14="http://schemas.microsoft.com/office/powerpoint/2010/main" val="38055201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1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D422CE6-2D8E-7A49-9FE3-4D9E2B5318BB}"/>
              </a:ext>
            </a:extLst>
          </p:cNvPr>
          <p:cNvGraphicFramePr>
            <a:graphicFrameLocks noChangeAspect="1"/>
          </p:cNvGraphicFramePr>
          <p:nvPr userDrawn="1">
            <p:custDataLst>
              <p:tags r:id="rId2"/>
            </p:custDataLst>
            <p:extLst>
              <p:ext uri="{D42A27DB-BD31-4B8C-83A1-F6EECF244321}">
                <p14:modId xmlns:p14="http://schemas.microsoft.com/office/powerpoint/2010/main" val="11698422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7051"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9" name="그림 개체 틀 8"/>
          <p:cNvSpPr>
            <a:spLocks noGrp="1"/>
          </p:cNvSpPr>
          <p:nvPr>
            <p:ph type="pic" sz="quarter" idx="11"/>
          </p:nvPr>
        </p:nvSpPr>
        <p:spPr>
          <a:xfrm>
            <a:off x="6450013" y="906463"/>
            <a:ext cx="4719638" cy="4984750"/>
          </a:xfrm>
        </p:spPr>
        <p:txBody>
          <a:bodyPr/>
          <a:lstStyle/>
          <a:p>
            <a:endParaRPr lang="ko-KR" altLang="en-US"/>
          </a:p>
        </p:txBody>
      </p:sp>
    </p:spTree>
    <p:extLst>
      <p:ext uri="{BB962C8B-B14F-4D97-AF65-F5344CB8AC3E}">
        <p14:creationId xmlns:p14="http://schemas.microsoft.com/office/powerpoint/2010/main" val="29020779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4F995E-620F-8B44-9767-63C74DF6289D}"/>
              </a:ext>
            </a:extLst>
          </p:cNvPr>
          <p:cNvGraphicFramePr>
            <a:graphicFrameLocks noChangeAspect="1"/>
          </p:cNvGraphicFramePr>
          <p:nvPr userDrawn="1">
            <p:custDataLst>
              <p:tags r:id="rId2"/>
            </p:custDataLst>
            <p:extLst>
              <p:ext uri="{D42A27DB-BD31-4B8C-83A1-F6EECF244321}">
                <p14:modId xmlns:p14="http://schemas.microsoft.com/office/powerpoint/2010/main" val="10137945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8075"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1258530" y="1047750"/>
            <a:ext cx="4837470" cy="4762500"/>
          </a:xfrm>
          <a:noFill/>
        </p:spPr>
        <p:txBody>
          <a:bodyPr/>
          <a:lstStyle/>
          <a:p>
            <a:endParaRPr lang="ko-KR" altLang="en-US"/>
          </a:p>
        </p:txBody>
      </p:sp>
    </p:spTree>
    <p:extLst>
      <p:ext uri="{BB962C8B-B14F-4D97-AF65-F5344CB8AC3E}">
        <p14:creationId xmlns:p14="http://schemas.microsoft.com/office/powerpoint/2010/main" val="6301171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5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464171-839E-3549-A1F6-66274DB4CCE2}"/>
              </a:ext>
            </a:extLst>
          </p:cNvPr>
          <p:cNvGraphicFramePr>
            <a:graphicFrameLocks noChangeAspect="1"/>
          </p:cNvGraphicFramePr>
          <p:nvPr userDrawn="1">
            <p:custDataLst>
              <p:tags r:id="rId2"/>
            </p:custDataLst>
            <p:extLst>
              <p:ext uri="{D42A27DB-BD31-4B8C-83A1-F6EECF244321}">
                <p14:modId xmlns:p14="http://schemas.microsoft.com/office/powerpoint/2010/main" val="38961258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9099"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846803" y="727587"/>
            <a:ext cx="4144297" cy="4777863"/>
          </a:xfrm>
          <a:noFill/>
        </p:spPr>
        <p:txBody>
          <a:bodyPr/>
          <a:lstStyle/>
          <a:p>
            <a:endParaRPr lang="ko-KR" altLang="en-US"/>
          </a:p>
        </p:txBody>
      </p:sp>
    </p:spTree>
    <p:extLst>
      <p:ext uri="{BB962C8B-B14F-4D97-AF65-F5344CB8AC3E}">
        <p14:creationId xmlns:p14="http://schemas.microsoft.com/office/powerpoint/2010/main" val="30265425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6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F60FBA4-E127-164F-BD5B-BA7521D31701}"/>
              </a:ext>
            </a:extLst>
          </p:cNvPr>
          <p:cNvGraphicFramePr>
            <a:graphicFrameLocks noChangeAspect="1"/>
          </p:cNvGraphicFramePr>
          <p:nvPr userDrawn="1">
            <p:custDataLst>
              <p:tags r:id="rId2"/>
            </p:custDataLst>
            <p:extLst>
              <p:ext uri="{D42A27DB-BD31-4B8C-83A1-F6EECF244321}">
                <p14:modId xmlns:p14="http://schemas.microsoft.com/office/powerpoint/2010/main" val="214697408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0123"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5247353" y="2556387"/>
            <a:ext cx="5934997" cy="3330063"/>
          </a:xfrm>
          <a:noFill/>
        </p:spPr>
        <p:txBody>
          <a:bodyPr/>
          <a:lstStyle/>
          <a:p>
            <a:endParaRPr lang="ko-KR" altLang="en-US"/>
          </a:p>
        </p:txBody>
      </p:sp>
    </p:spTree>
    <p:extLst>
      <p:ext uri="{BB962C8B-B14F-4D97-AF65-F5344CB8AC3E}">
        <p14:creationId xmlns:p14="http://schemas.microsoft.com/office/powerpoint/2010/main" val="188523120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7_제목 슬라이드">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64B12AF-34E9-3846-A057-4A99F35F4C59}"/>
              </a:ext>
            </a:extLst>
          </p:cNvPr>
          <p:cNvGraphicFramePr>
            <a:graphicFrameLocks noChangeAspect="1"/>
          </p:cNvGraphicFramePr>
          <p:nvPr userDrawn="1">
            <p:custDataLst>
              <p:tags r:id="rId2"/>
            </p:custDataLst>
            <p:extLst>
              <p:ext uri="{D42A27DB-BD31-4B8C-83A1-F6EECF244321}">
                <p14:modId xmlns:p14="http://schemas.microsoft.com/office/powerpoint/2010/main" val="9831118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21147"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그림 개체 틀 3"/>
          <p:cNvSpPr>
            <a:spLocks noGrp="1"/>
          </p:cNvSpPr>
          <p:nvPr>
            <p:ph type="pic" sz="quarter" idx="13"/>
          </p:nvPr>
        </p:nvSpPr>
        <p:spPr>
          <a:xfrm>
            <a:off x="1132553" y="975237"/>
            <a:ext cx="4353847" cy="3463413"/>
          </a:xfrm>
          <a:noFill/>
        </p:spPr>
        <p:txBody>
          <a:bodyPr/>
          <a:lstStyle/>
          <a:p>
            <a:endParaRPr lang="ko-KR" altLang="en-US"/>
          </a:p>
        </p:txBody>
      </p:sp>
    </p:spTree>
    <p:extLst>
      <p:ext uri="{BB962C8B-B14F-4D97-AF65-F5344CB8AC3E}">
        <p14:creationId xmlns:p14="http://schemas.microsoft.com/office/powerpoint/2010/main" val="285306746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vmlDrawing" Target="../drawings/vmlDrawing1.v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3C18C46-F186-6C44-8AB7-DCBB4AB1D6B1}"/>
              </a:ext>
            </a:extLst>
          </p:cNvPr>
          <p:cNvGraphicFramePr>
            <a:graphicFrameLocks noChangeAspect="1"/>
          </p:cNvGraphicFramePr>
          <p:nvPr userDrawn="1">
            <p:custDataLst>
              <p:tags r:id="rId36"/>
            </p:custDataLst>
            <p:extLst>
              <p:ext uri="{D42A27DB-BD31-4B8C-83A1-F6EECF244321}">
                <p14:modId xmlns:p14="http://schemas.microsoft.com/office/powerpoint/2010/main" val="33080216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740" name="think-cell Slide" r:id="rId37" imgW="7772400" imgH="10058400" progId="TCLayout.ActiveDocument.1">
                  <p:embed/>
                </p:oleObj>
              </mc:Choice>
              <mc:Fallback>
                <p:oleObj name="think-cell Slide" r:id="rId37" imgW="7772400" imgH="10058400" progId="TCLayout.ActiveDocument.1">
                  <p:embed/>
                  <p:pic>
                    <p:nvPicPr>
                      <p:cNvPr id="0" name=""/>
                      <p:cNvPicPr/>
                      <p:nvPr/>
                    </p:nvPicPr>
                    <p:blipFill>
                      <a:blip r:embed="rId38"/>
                      <a:stretch>
                        <a:fillRect/>
                      </a:stretch>
                    </p:blipFill>
                    <p:spPr>
                      <a:xfrm>
                        <a:off x="1588" y="1588"/>
                        <a:ext cx="1227" cy="1588"/>
                      </a:xfrm>
                      <a:prstGeom prst="rect">
                        <a:avLst/>
                      </a:prstGeom>
                    </p:spPr>
                  </p:pic>
                </p:oleObj>
              </mc:Fallback>
            </mc:AlternateContent>
          </a:graphicData>
        </a:graphic>
      </p:graphicFrame>
      <p:sp>
        <p:nvSpPr>
          <p:cNvPr id="2" name="제목 개체 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ko-KR" altLang="en-US"/>
              <a:t>마스터 제목 스타일 편집</a:t>
            </a:r>
          </a:p>
        </p:txBody>
      </p:sp>
      <p:sp>
        <p:nvSpPr>
          <p:cNvPr id="3" name="텍스트 개체 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ko-KR" altLang="en-US"/>
              <a:t>마스터 텍스트 스타일 편집</a:t>
            </a:r>
          </a:p>
          <a:p>
            <a:pPr lvl="1"/>
            <a:r>
              <a:rPr lang="ko-KR" altLang="en-US"/>
              <a:t>둘째 수준</a:t>
            </a:r>
          </a:p>
          <a:p>
            <a:pPr lvl="2"/>
            <a:r>
              <a:rPr lang="ko-KR" altLang="en-US"/>
              <a:t>셋째 수준</a:t>
            </a:r>
          </a:p>
          <a:p>
            <a:pPr lvl="3"/>
            <a:r>
              <a:rPr lang="ko-KR" altLang="en-US"/>
              <a:t>넷째 수준</a:t>
            </a:r>
          </a:p>
          <a:p>
            <a:pPr lvl="4"/>
            <a:r>
              <a:rPr lang="ko-KR" altLang="en-US"/>
              <a:t>다섯째 수준</a:t>
            </a:r>
          </a:p>
        </p:txBody>
      </p:sp>
      <p:sp>
        <p:nvSpPr>
          <p:cNvPr id="4" name="날짜 개체 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0F1A84-D49B-4166-9472-437F6EAB6A3A}" type="datetimeFigureOut">
              <a:rPr lang="ko-KR" altLang="en-US" smtClean="0"/>
              <a:t>2021. 10. 3.</a:t>
            </a:fld>
            <a:endParaRPr lang="ko-KR" altLang="en-US"/>
          </a:p>
        </p:txBody>
      </p:sp>
      <p:sp>
        <p:nvSpPr>
          <p:cNvPr id="5" name="바닥글 개체 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ko-KR" altLang="en-US"/>
          </a:p>
        </p:txBody>
      </p:sp>
      <p:sp>
        <p:nvSpPr>
          <p:cNvPr id="6" name="슬라이드 번호 개체 틀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B6CF8F-791F-4E5A-B4D3-68227A314219}" type="slidenum">
              <a:rPr lang="ko-KR" altLang="en-US" smtClean="0"/>
              <a:t>‹#›</a:t>
            </a:fld>
            <a:endParaRPr lang="ko-KR" altLang="en-US"/>
          </a:p>
        </p:txBody>
      </p:sp>
    </p:spTree>
    <p:extLst>
      <p:ext uri="{BB962C8B-B14F-4D97-AF65-F5344CB8AC3E}">
        <p14:creationId xmlns:p14="http://schemas.microsoft.com/office/powerpoint/2010/main" val="2512261282"/>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58" r:id="rId3"/>
    <p:sldLayoutId id="2147483659" r:id="rId4"/>
    <p:sldLayoutId id="2147483660" r:id="rId5"/>
    <p:sldLayoutId id="2147483662" r:id="rId6"/>
    <p:sldLayoutId id="2147483664" r:id="rId7"/>
    <p:sldLayoutId id="2147483665" r:id="rId8"/>
    <p:sldLayoutId id="2147483666" r:id="rId9"/>
    <p:sldLayoutId id="2147483668" r:id="rId10"/>
    <p:sldLayoutId id="2147483670" r:id="rId11"/>
    <p:sldLayoutId id="2147483671"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6" r:id="rId30"/>
    <p:sldLayoutId id="2147483695" r:id="rId31"/>
    <p:sldLayoutId id="2147483694" r:id="rId32"/>
    <p:sldLayoutId id="2147483697" r:id="rId33"/>
  </p:sldLayoutIdLst>
  <p:txStyles>
    <p:titleStyle>
      <a:lvl1pPr algn="l" defTabSz="914400" rtl="0" eaLnBrk="1" latinLnBrk="1"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1"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36.emf"/><Relationship Id="rId5" Type="http://schemas.openxmlformats.org/officeDocument/2006/relationships/oleObject" Target="../embeddings/oleObject3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svg"/><Relationship Id="rId3" Type="http://schemas.openxmlformats.org/officeDocument/2006/relationships/slideLayout" Target="../slideLayouts/slideLayout1.xml"/><Relationship Id="rId7" Type="http://schemas.openxmlformats.org/officeDocument/2006/relationships/image" Target="../media/image40.png"/><Relationship Id="rId12" Type="http://schemas.openxmlformats.org/officeDocument/2006/relationships/image" Target="../media/image44.pn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39.emf"/><Relationship Id="rId11" Type="http://schemas.microsoft.com/office/2007/relationships/hdphoto" Target="../media/hdphoto2.wdp"/><Relationship Id="rId5" Type="http://schemas.openxmlformats.org/officeDocument/2006/relationships/oleObject" Target="../embeddings/oleObject44.bin"/><Relationship Id="rId10" Type="http://schemas.openxmlformats.org/officeDocument/2006/relationships/image" Target="../media/image43.png"/><Relationship Id="rId4" Type="http://schemas.openxmlformats.org/officeDocument/2006/relationships/notesSlide" Target="../notesSlides/notesSlide10.xml"/><Relationship Id="rId9" Type="http://schemas.openxmlformats.org/officeDocument/2006/relationships/image" Target="../media/image42.png"/></Relationships>
</file>

<file path=ppt/slides/_rels/slide1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5.svg"/><Relationship Id="rId3" Type="http://schemas.openxmlformats.org/officeDocument/2006/relationships/slideLayout" Target="../slideLayouts/slideLayout1.xml"/><Relationship Id="rId7" Type="http://schemas.openxmlformats.org/officeDocument/2006/relationships/image" Target="../media/image40.png"/><Relationship Id="rId12" Type="http://schemas.openxmlformats.org/officeDocument/2006/relationships/image" Target="../media/image44.pn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39.emf"/><Relationship Id="rId11" Type="http://schemas.microsoft.com/office/2007/relationships/hdphoto" Target="../media/hdphoto2.wdp"/><Relationship Id="rId5" Type="http://schemas.openxmlformats.org/officeDocument/2006/relationships/oleObject" Target="../embeddings/oleObject45.bin"/><Relationship Id="rId10" Type="http://schemas.openxmlformats.org/officeDocument/2006/relationships/image" Target="../media/image43.png"/><Relationship Id="rId4" Type="http://schemas.openxmlformats.org/officeDocument/2006/relationships/notesSlide" Target="../notesSlides/notesSlide11.xml"/><Relationship Id="rId9" Type="http://schemas.openxmlformats.org/officeDocument/2006/relationships/image" Target="../media/image42.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8.xml"/><Relationship Id="rId7" Type="http://schemas.openxmlformats.org/officeDocument/2006/relationships/chart" Target="../charts/chart1.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46.emf"/><Relationship Id="rId5" Type="http://schemas.openxmlformats.org/officeDocument/2006/relationships/oleObject" Target="../embeddings/oleObject46.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47.emf"/><Relationship Id="rId5" Type="http://schemas.openxmlformats.org/officeDocument/2006/relationships/oleObject" Target="../embeddings/oleObject47.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47.emf"/><Relationship Id="rId5" Type="http://schemas.openxmlformats.org/officeDocument/2006/relationships/oleObject" Target="../embeddings/oleObject48.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47.emf"/><Relationship Id="rId5" Type="http://schemas.openxmlformats.org/officeDocument/2006/relationships/oleObject" Target="../embeddings/oleObject49.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47.emf"/><Relationship Id="rId5" Type="http://schemas.openxmlformats.org/officeDocument/2006/relationships/oleObject" Target="../embeddings/oleObject50.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47.emf"/><Relationship Id="rId5" Type="http://schemas.openxmlformats.org/officeDocument/2006/relationships/oleObject" Target="../embeddings/oleObject5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47.emf"/><Relationship Id="rId5" Type="http://schemas.openxmlformats.org/officeDocument/2006/relationships/oleObject" Target="../embeddings/oleObject52.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8.tiff"/><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47.emf"/><Relationship Id="rId5" Type="http://schemas.openxmlformats.org/officeDocument/2006/relationships/oleObject" Target="../embeddings/oleObject53.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37.emf"/><Relationship Id="rId5" Type="http://schemas.openxmlformats.org/officeDocument/2006/relationships/oleObject" Target="../embeddings/oleObject3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slideLayout" Target="../slideLayouts/slideLayout8.xml"/><Relationship Id="rId7" Type="http://schemas.openxmlformats.org/officeDocument/2006/relationships/image" Target="../media/image50.pn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49.emf"/><Relationship Id="rId5" Type="http://schemas.openxmlformats.org/officeDocument/2006/relationships/oleObject" Target="../embeddings/oleObject5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51.emf"/><Relationship Id="rId5" Type="http://schemas.openxmlformats.org/officeDocument/2006/relationships/oleObject" Target="../embeddings/oleObject55.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slideLayout" Target="../slideLayouts/slideLayout1.xml"/><Relationship Id="rId7" Type="http://schemas.openxmlformats.org/officeDocument/2006/relationships/image" Target="../media/image53.png"/><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52.emf"/><Relationship Id="rId5" Type="http://schemas.openxmlformats.org/officeDocument/2006/relationships/oleObject" Target="../embeddings/oleObject56.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slideLayout" Target="../slideLayouts/slideLayout4.xml"/><Relationship Id="rId7" Type="http://schemas.openxmlformats.org/officeDocument/2006/relationships/image" Target="../media/image55.png"/><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54.emf"/><Relationship Id="rId5" Type="http://schemas.openxmlformats.org/officeDocument/2006/relationships/oleObject" Target="../embeddings/oleObject57.bin"/><Relationship Id="rId4" Type="http://schemas.openxmlformats.org/officeDocument/2006/relationships/notesSlide" Target="../notesSlides/notesSlide23.xml"/><Relationship Id="rId9" Type="http://schemas.openxmlformats.org/officeDocument/2006/relationships/image" Target="../media/image56.png"/></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33.xml"/><Relationship Id="rId7" Type="http://schemas.openxmlformats.org/officeDocument/2006/relationships/diagramData" Target="../diagrams/data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57.emf"/><Relationship Id="rId11" Type="http://schemas.microsoft.com/office/2007/relationships/diagramDrawing" Target="../diagrams/drawing1.xml"/><Relationship Id="rId5" Type="http://schemas.openxmlformats.org/officeDocument/2006/relationships/oleObject" Target="../embeddings/oleObject58.bin"/><Relationship Id="rId10" Type="http://schemas.openxmlformats.org/officeDocument/2006/relationships/diagramColors" Target="../diagrams/colors1.xml"/><Relationship Id="rId4" Type="http://schemas.openxmlformats.org/officeDocument/2006/relationships/notesSlide" Target="../notesSlides/notesSlide24.xml"/><Relationship Id="rId9" Type="http://schemas.openxmlformats.org/officeDocument/2006/relationships/diagramQuickStyle" Target="../diagrams/quickStyle1.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59.jp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58.emf"/><Relationship Id="rId5" Type="http://schemas.openxmlformats.org/officeDocument/2006/relationships/oleObject" Target="../embeddings/oleObject59.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60.emf"/><Relationship Id="rId5" Type="http://schemas.openxmlformats.org/officeDocument/2006/relationships/oleObject" Target="../embeddings/oleObject60.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33.xml"/><Relationship Id="rId7" Type="http://schemas.openxmlformats.org/officeDocument/2006/relationships/image" Target="../media/image62.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61.emf"/><Relationship Id="rId5" Type="http://schemas.openxmlformats.org/officeDocument/2006/relationships/oleObject" Target="../embeddings/oleObject61.bin"/><Relationship Id="rId4" Type="http://schemas.openxmlformats.org/officeDocument/2006/relationships/notesSlide" Target="../notesSlides/notesSlide27.xml"/><Relationship Id="rId9" Type="http://schemas.openxmlformats.org/officeDocument/2006/relationships/image" Target="../media/image64.png"/></Relationships>
</file>

<file path=ppt/slides/_rels/slide28.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33.xml"/><Relationship Id="rId7" Type="http://schemas.openxmlformats.org/officeDocument/2006/relationships/image" Target="../media/image66.png"/><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65.emf"/><Relationship Id="rId5" Type="http://schemas.openxmlformats.org/officeDocument/2006/relationships/oleObject" Target="../embeddings/oleObject62.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33.xml"/><Relationship Id="rId7" Type="http://schemas.openxmlformats.org/officeDocument/2006/relationships/image" Target="../media/image69.png"/><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68.emf"/><Relationship Id="rId5" Type="http://schemas.openxmlformats.org/officeDocument/2006/relationships/oleObject" Target="../embeddings/oleObject63.bin"/><Relationship Id="rId4" Type="http://schemas.openxmlformats.org/officeDocument/2006/relationships/notesSlide" Target="../notesSlides/notesSlide29.xml"/><Relationship Id="rId9" Type="http://schemas.openxmlformats.org/officeDocument/2006/relationships/image" Target="../media/image71.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36.emf"/><Relationship Id="rId5" Type="http://schemas.openxmlformats.org/officeDocument/2006/relationships/oleObject" Target="../embeddings/oleObject37.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71.png"/><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2.emf"/><Relationship Id="rId5" Type="http://schemas.openxmlformats.org/officeDocument/2006/relationships/oleObject" Target="../embeddings/oleObject64.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chart" Target="../charts/chart2.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73.emf"/><Relationship Id="rId5" Type="http://schemas.openxmlformats.org/officeDocument/2006/relationships/oleObject" Target="../embeddings/oleObject65.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33.xml"/><Relationship Id="rId7" Type="http://schemas.openxmlformats.org/officeDocument/2006/relationships/image" Target="../media/image75.png"/><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74.emf"/><Relationship Id="rId5" Type="http://schemas.openxmlformats.org/officeDocument/2006/relationships/oleObject" Target="../embeddings/oleObject66.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33.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76.emf"/><Relationship Id="rId5" Type="http://schemas.openxmlformats.org/officeDocument/2006/relationships/oleObject" Target="../embeddings/oleObject67.bin"/><Relationship Id="rId4" Type="http://schemas.openxmlformats.org/officeDocument/2006/relationships/notesSlide" Target="../notesSlides/notesSlide33.xml"/></Relationships>
</file>

<file path=ppt/slides/_rels/slide3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33.xml"/><Relationship Id="rId7" Type="http://schemas.openxmlformats.org/officeDocument/2006/relationships/image" Target="../media/image78.png"/><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77.emf"/><Relationship Id="rId5" Type="http://schemas.openxmlformats.org/officeDocument/2006/relationships/oleObject" Target="../embeddings/oleObject68.bin"/><Relationship Id="rId4" Type="http://schemas.openxmlformats.org/officeDocument/2006/relationships/notesSlide" Target="../notesSlides/notesSlide34.xml"/><Relationship Id="rId9" Type="http://schemas.openxmlformats.org/officeDocument/2006/relationships/image" Target="../media/image80.svg"/></Relationships>
</file>

<file path=ppt/slides/_rels/slide35.xml.rels><?xml version="1.0" encoding="UTF-8" standalone="yes"?>
<Relationships xmlns="http://schemas.openxmlformats.org/package/2006/relationships"><Relationship Id="rId8" Type="http://schemas.microsoft.com/office/2007/relationships/hdphoto" Target="../media/hdphoto6.wdp"/><Relationship Id="rId3" Type="http://schemas.openxmlformats.org/officeDocument/2006/relationships/slideLayout" Target="../slideLayouts/slideLayout17.xml"/><Relationship Id="rId7" Type="http://schemas.openxmlformats.org/officeDocument/2006/relationships/image" Target="../media/image82.png"/><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81.emf"/><Relationship Id="rId5" Type="http://schemas.openxmlformats.org/officeDocument/2006/relationships/oleObject" Target="../embeddings/oleObject69.bin"/><Relationship Id="rId4" Type="http://schemas.openxmlformats.org/officeDocument/2006/relationships/notesSlide" Target="../notesSlides/notesSlide35.xml"/></Relationships>
</file>

<file path=ppt/slides/_rels/slide36.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slideLayout" Target="../slideLayouts/slideLayout33.xml"/><Relationship Id="rId7" Type="http://schemas.openxmlformats.org/officeDocument/2006/relationships/image" Target="../media/image84.png"/><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83.emf"/><Relationship Id="rId5" Type="http://schemas.openxmlformats.org/officeDocument/2006/relationships/oleObject" Target="../embeddings/oleObject70.bin"/><Relationship Id="rId4" Type="http://schemas.openxmlformats.org/officeDocument/2006/relationships/notesSlide" Target="../notesSlides/notesSlide36.xml"/></Relationships>
</file>

<file path=ppt/slides/_rels/slide37.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slideLayout" Target="../slideLayouts/slideLayout33.xml"/><Relationship Id="rId7" Type="http://schemas.openxmlformats.org/officeDocument/2006/relationships/image" Target="../media/image87.png"/><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86.emf"/><Relationship Id="rId5" Type="http://schemas.openxmlformats.org/officeDocument/2006/relationships/oleObject" Target="../embeddings/oleObject71.bin"/><Relationship Id="rId4" Type="http://schemas.openxmlformats.org/officeDocument/2006/relationships/notesSlide" Target="../notesSlides/notesSlide37.xml"/><Relationship Id="rId9" Type="http://schemas.openxmlformats.org/officeDocument/2006/relationships/image" Target="../media/image89.png"/></Relationships>
</file>

<file path=ppt/slides/_rels/slide3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slideLayout" Target="../slideLayouts/slideLayout33.xml"/><Relationship Id="rId7" Type="http://schemas.openxmlformats.org/officeDocument/2006/relationships/image" Target="../media/image91.png"/><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90.emf"/><Relationship Id="rId5" Type="http://schemas.openxmlformats.org/officeDocument/2006/relationships/oleObject" Target="../embeddings/oleObject72.bin"/><Relationship Id="rId4" Type="http://schemas.openxmlformats.org/officeDocument/2006/relationships/notesSlide" Target="../notesSlides/notesSlide38.xml"/><Relationship Id="rId9" Type="http://schemas.openxmlformats.org/officeDocument/2006/relationships/image" Target="../media/image93.png"/></Relationships>
</file>

<file path=ppt/slides/_rels/slide39.xml.rels><?xml version="1.0" encoding="UTF-8" standalone="yes"?>
<Relationships xmlns="http://schemas.openxmlformats.org/package/2006/relationships"><Relationship Id="rId8" Type="http://schemas.openxmlformats.org/officeDocument/2006/relationships/image" Target="../media/image96.gif"/><Relationship Id="rId3" Type="http://schemas.openxmlformats.org/officeDocument/2006/relationships/slideLayout" Target="../slideLayouts/slideLayout33.xml"/><Relationship Id="rId7" Type="http://schemas.openxmlformats.org/officeDocument/2006/relationships/image" Target="../media/image95.png"/><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94.emf"/><Relationship Id="rId5" Type="http://schemas.openxmlformats.org/officeDocument/2006/relationships/oleObject" Target="../embeddings/oleObject73.bin"/><Relationship Id="rId10" Type="http://schemas.openxmlformats.org/officeDocument/2006/relationships/image" Target="../media/image98.gif"/><Relationship Id="rId4" Type="http://schemas.openxmlformats.org/officeDocument/2006/relationships/notesSlide" Target="../notesSlides/notesSlide39.xml"/><Relationship Id="rId9" Type="http://schemas.openxmlformats.org/officeDocument/2006/relationships/image" Target="../media/image97.gif"/></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38.emf"/><Relationship Id="rId5" Type="http://schemas.openxmlformats.org/officeDocument/2006/relationships/oleObject" Target="../embeddings/oleObject38.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slideLayout" Target="../slideLayouts/slideLayout33.xml"/><Relationship Id="rId7" Type="http://schemas.openxmlformats.org/officeDocument/2006/relationships/image" Target="../media/image100.jpeg"/><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99.emf"/><Relationship Id="rId5" Type="http://schemas.openxmlformats.org/officeDocument/2006/relationships/oleObject" Target="../embeddings/oleObject74.bin"/><Relationship Id="rId4" Type="http://schemas.openxmlformats.org/officeDocument/2006/relationships/notesSlide" Target="../notesSlides/notesSlide40.xml"/></Relationships>
</file>

<file path=ppt/slides/_rels/slide41.xml.rels><?xml version="1.0" encoding="UTF-8" standalone="yes"?>
<Relationships xmlns="http://schemas.openxmlformats.org/package/2006/relationships"><Relationship Id="rId8" Type="http://schemas.openxmlformats.org/officeDocument/2006/relationships/image" Target="../media/image108.svg"/><Relationship Id="rId3" Type="http://schemas.openxmlformats.org/officeDocument/2006/relationships/image" Target="../media/image103.png"/><Relationship Id="rId7" Type="http://schemas.openxmlformats.org/officeDocument/2006/relationships/image" Target="../media/image107.png"/><Relationship Id="rId12" Type="http://schemas.microsoft.com/office/2007/relationships/hdphoto" Target="../media/hdphoto8.wdp"/><Relationship Id="rId2" Type="http://schemas.openxmlformats.org/officeDocument/2006/relationships/image" Target="../media/image102.tiff"/><Relationship Id="rId1" Type="http://schemas.openxmlformats.org/officeDocument/2006/relationships/slideLayout" Target="../slideLayouts/slideLayout33.xml"/><Relationship Id="rId6" Type="http://schemas.openxmlformats.org/officeDocument/2006/relationships/image" Target="../media/image106.svg"/><Relationship Id="rId11" Type="http://schemas.openxmlformats.org/officeDocument/2006/relationships/image" Target="../media/image110.png"/><Relationship Id="rId5" Type="http://schemas.openxmlformats.org/officeDocument/2006/relationships/image" Target="../media/image105.png"/><Relationship Id="rId10" Type="http://schemas.microsoft.com/office/2007/relationships/hdphoto" Target="../media/hdphoto7.wdp"/><Relationship Id="rId4" Type="http://schemas.openxmlformats.org/officeDocument/2006/relationships/image" Target="../media/image104.png"/><Relationship Id="rId9" Type="http://schemas.openxmlformats.org/officeDocument/2006/relationships/image" Target="../media/image109.png"/></Relationships>
</file>

<file path=ppt/slides/_rels/slide42.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slideLayout" Target="../slideLayouts/slideLayout16.xml"/><Relationship Id="rId7" Type="http://schemas.openxmlformats.org/officeDocument/2006/relationships/image" Target="../media/image112.png"/><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111.emf"/><Relationship Id="rId5" Type="http://schemas.openxmlformats.org/officeDocument/2006/relationships/oleObject" Target="../embeddings/oleObject75.bin"/><Relationship Id="rId10" Type="http://schemas.microsoft.com/office/2007/relationships/hdphoto" Target="../media/hdphoto10.wdp"/><Relationship Id="rId4" Type="http://schemas.openxmlformats.org/officeDocument/2006/relationships/notesSlide" Target="../notesSlides/notesSlide41.xml"/><Relationship Id="rId9" Type="http://schemas.openxmlformats.org/officeDocument/2006/relationships/image" Target="../media/image113.png"/></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114.emf"/><Relationship Id="rId5" Type="http://schemas.openxmlformats.org/officeDocument/2006/relationships/oleObject" Target="../embeddings/oleObject76.bin"/><Relationship Id="rId4" Type="http://schemas.openxmlformats.org/officeDocument/2006/relationships/notesSlide" Target="../notesSlides/notesSlide42.xml"/></Relationships>
</file>

<file path=ppt/slides/_rels/slide44.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slideLayout" Target="../slideLayouts/slideLayout27.xml"/><Relationship Id="rId7" Type="http://schemas.openxmlformats.org/officeDocument/2006/relationships/image" Target="../media/image116.png"/><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115.emf"/><Relationship Id="rId5" Type="http://schemas.openxmlformats.org/officeDocument/2006/relationships/oleObject" Target="../embeddings/oleObject77.bin"/><Relationship Id="rId4" Type="http://schemas.openxmlformats.org/officeDocument/2006/relationships/notesSlide" Target="../notesSlides/notesSlide43.xml"/></Relationships>
</file>

<file path=ppt/slides/_rels/slide45.xml.rels><?xml version="1.0" encoding="UTF-8" standalone="yes"?>
<Relationships xmlns="http://schemas.openxmlformats.org/package/2006/relationships"><Relationship Id="rId8" Type="http://schemas.openxmlformats.org/officeDocument/2006/relationships/image" Target="../media/image120.emf"/><Relationship Id="rId3" Type="http://schemas.openxmlformats.org/officeDocument/2006/relationships/slideLayout" Target="../slideLayouts/slideLayout27.xml"/><Relationship Id="rId7" Type="http://schemas.openxmlformats.org/officeDocument/2006/relationships/image" Target="../media/image119.jpeg"/><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118.emf"/><Relationship Id="rId5" Type="http://schemas.openxmlformats.org/officeDocument/2006/relationships/oleObject" Target="../embeddings/oleObject78.bin"/><Relationship Id="rId4" Type="http://schemas.openxmlformats.org/officeDocument/2006/relationships/notesSlide" Target="../notesSlides/notesSlide44.xml"/></Relationships>
</file>

<file path=ppt/slides/_rels/slide46.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slideLayout" Target="../slideLayouts/slideLayout33.xml"/><Relationship Id="rId7" Type="http://schemas.openxmlformats.org/officeDocument/2006/relationships/diagramData" Target="../diagrams/data2.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121.emf"/><Relationship Id="rId11" Type="http://schemas.microsoft.com/office/2007/relationships/diagramDrawing" Target="../diagrams/drawing2.xml"/><Relationship Id="rId5" Type="http://schemas.openxmlformats.org/officeDocument/2006/relationships/oleObject" Target="../embeddings/oleObject79.bin"/><Relationship Id="rId10" Type="http://schemas.openxmlformats.org/officeDocument/2006/relationships/diagramColors" Target="../diagrams/colors2.xml"/><Relationship Id="rId4" Type="http://schemas.openxmlformats.org/officeDocument/2006/relationships/notesSlide" Target="../notesSlides/notesSlide45.xml"/><Relationship Id="rId9" Type="http://schemas.openxmlformats.org/officeDocument/2006/relationships/diagramQuickStyle" Target="../diagrams/quickStyle2.xml"/></Relationships>
</file>

<file path=ppt/slides/_rels/slide47.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slideLayout" Target="../slideLayouts/slideLayout27.xml"/><Relationship Id="rId7" Type="http://schemas.openxmlformats.org/officeDocument/2006/relationships/image" Target="../media/image116.png"/><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115.emf"/><Relationship Id="rId5" Type="http://schemas.openxmlformats.org/officeDocument/2006/relationships/oleObject" Target="../embeddings/oleObject80.bin"/><Relationship Id="rId4" Type="http://schemas.openxmlformats.org/officeDocument/2006/relationships/notesSlide" Target="../notesSlides/notesSlide46.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3.png"/><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122.emf"/><Relationship Id="rId5" Type="http://schemas.openxmlformats.org/officeDocument/2006/relationships/oleObject" Target="../embeddings/oleObject81.bin"/><Relationship Id="rId4" Type="http://schemas.openxmlformats.org/officeDocument/2006/relationships/notesSlide" Target="../notesSlides/notesSlide47.xml"/></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3.png"/><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122.emf"/><Relationship Id="rId5" Type="http://schemas.openxmlformats.org/officeDocument/2006/relationships/oleObject" Target="../embeddings/oleObject82.bin"/><Relationship Id="rId4" Type="http://schemas.openxmlformats.org/officeDocument/2006/relationships/notesSlide" Target="../notesSlides/notesSlide4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39.emf"/><Relationship Id="rId5" Type="http://schemas.openxmlformats.org/officeDocument/2006/relationships/oleObject" Target="../embeddings/oleObject39.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4.png"/><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122.emf"/><Relationship Id="rId5" Type="http://schemas.openxmlformats.org/officeDocument/2006/relationships/oleObject" Target="../embeddings/oleObject83.bin"/><Relationship Id="rId4" Type="http://schemas.openxmlformats.org/officeDocument/2006/relationships/notesSlide" Target="../notesSlides/notesSlide49.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125.emf"/><Relationship Id="rId5" Type="http://schemas.openxmlformats.org/officeDocument/2006/relationships/oleObject" Target="../embeddings/oleObject84.bin"/><Relationship Id="rId4" Type="http://schemas.openxmlformats.org/officeDocument/2006/relationships/notesSlide" Target="../notesSlides/notesSlide50.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7.tiff"/><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126.emf"/><Relationship Id="rId5" Type="http://schemas.openxmlformats.org/officeDocument/2006/relationships/oleObject" Target="../embeddings/oleObject85.bin"/><Relationship Id="rId4" Type="http://schemas.openxmlformats.org/officeDocument/2006/relationships/notesSlide" Target="../notesSlides/notesSlide51.xml"/></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8.tiff"/><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126.emf"/><Relationship Id="rId5" Type="http://schemas.openxmlformats.org/officeDocument/2006/relationships/oleObject" Target="../embeddings/oleObject86.bin"/><Relationship Id="rId4" Type="http://schemas.openxmlformats.org/officeDocument/2006/relationships/notesSlide" Target="../notesSlides/notesSlide52.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29.tiff"/><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126.emf"/><Relationship Id="rId5" Type="http://schemas.openxmlformats.org/officeDocument/2006/relationships/oleObject" Target="../embeddings/oleObject87.bin"/><Relationship Id="rId4" Type="http://schemas.openxmlformats.org/officeDocument/2006/relationships/notesSlide" Target="../notesSlides/notesSlide53.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30.tiff"/><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126.emf"/><Relationship Id="rId5" Type="http://schemas.openxmlformats.org/officeDocument/2006/relationships/oleObject" Target="../embeddings/oleObject88.bin"/><Relationship Id="rId4" Type="http://schemas.openxmlformats.org/officeDocument/2006/relationships/notesSlide" Target="../notesSlides/notesSlide54.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27.xml"/><Relationship Id="rId7" Type="http://schemas.openxmlformats.org/officeDocument/2006/relationships/image" Target="../media/image131.tiff"/><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126.emf"/><Relationship Id="rId5" Type="http://schemas.openxmlformats.org/officeDocument/2006/relationships/oleObject" Target="../embeddings/oleObject89.bin"/><Relationship Id="rId4" Type="http://schemas.openxmlformats.org/officeDocument/2006/relationships/notesSlide" Target="../notesSlides/notesSlide55.xml"/></Relationships>
</file>

<file path=ppt/slides/_rels/slide57.xml.rels><?xml version="1.0" encoding="UTF-8" standalone="yes"?>
<Relationships xmlns="http://schemas.openxmlformats.org/package/2006/relationships"><Relationship Id="rId8" Type="http://schemas.openxmlformats.org/officeDocument/2006/relationships/image" Target="../media/image131.tiff"/><Relationship Id="rId3" Type="http://schemas.openxmlformats.org/officeDocument/2006/relationships/slideLayout" Target="../slideLayouts/slideLayout27.xml"/><Relationship Id="rId7" Type="http://schemas.openxmlformats.org/officeDocument/2006/relationships/image" Target="../media/image132.tiff"/><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126.emf"/><Relationship Id="rId5" Type="http://schemas.openxmlformats.org/officeDocument/2006/relationships/oleObject" Target="../embeddings/oleObject90.bin"/><Relationship Id="rId4" Type="http://schemas.openxmlformats.org/officeDocument/2006/relationships/notesSlide" Target="../notesSlides/notesSlide56.xml"/></Relationships>
</file>

<file path=ppt/slides/_rels/slide58.xml.rels><?xml version="1.0" encoding="UTF-8" standalone="yes"?>
<Relationships xmlns="http://schemas.openxmlformats.org/package/2006/relationships"><Relationship Id="rId8" Type="http://schemas.openxmlformats.org/officeDocument/2006/relationships/image" Target="../media/image117.svg"/><Relationship Id="rId3" Type="http://schemas.openxmlformats.org/officeDocument/2006/relationships/slideLayout" Target="../slideLayouts/slideLayout27.xml"/><Relationship Id="rId7" Type="http://schemas.openxmlformats.org/officeDocument/2006/relationships/image" Target="../media/image116.png"/><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115.emf"/><Relationship Id="rId5" Type="http://schemas.openxmlformats.org/officeDocument/2006/relationships/oleObject" Target="../embeddings/oleObject91.bin"/><Relationship Id="rId4" Type="http://schemas.openxmlformats.org/officeDocument/2006/relationships/notesSlide" Target="../notesSlides/notesSlide57.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56.png"/><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133.emf"/><Relationship Id="rId5" Type="http://schemas.openxmlformats.org/officeDocument/2006/relationships/oleObject" Target="../embeddings/oleObject92.bin"/><Relationship Id="rId4" Type="http://schemas.openxmlformats.org/officeDocument/2006/relationships/notesSlide" Target="../notesSlides/notesSlide58.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39.emf"/><Relationship Id="rId5" Type="http://schemas.openxmlformats.org/officeDocument/2006/relationships/oleObject" Target="../embeddings/oleObject40.bin"/><Relationship Id="rId4" Type="http://schemas.openxmlformats.org/officeDocument/2006/relationships/notesSlide" Target="../notesSlides/notesSlide6.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134.emf"/><Relationship Id="rId5" Type="http://schemas.openxmlformats.org/officeDocument/2006/relationships/oleObject" Target="../embeddings/oleObject93.bin"/><Relationship Id="rId4" Type="http://schemas.openxmlformats.org/officeDocument/2006/relationships/notesSlide" Target="../notesSlides/notesSlide59.xml"/></Relationships>
</file>

<file path=ppt/slides/_rels/slide61.xml.rels><?xml version="1.0" encoding="UTF-8" standalone="yes"?>
<Relationships xmlns="http://schemas.openxmlformats.org/package/2006/relationships"><Relationship Id="rId8" Type="http://schemas.openxmlformats.org/officeDocument/2006/relationships/image" Target="../media/image137.png"/><Relationship Id="rId3" Type="http://schemas.openxmlformats.org/officeDocument/2006/relationships/slideLayout" Target="../slideLayouts/slideLayout29.xml"/><Relationship Id="rId7" Type="http://schemas.openxmlformats.org/officeDocument/2006/relationships/image" Target="../media/image136.png"/><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135.emf"/><Relationship Id="rId5" Type="http://schemas.openxmlformats.org/officeDocument/2006/relationships/oleObject" Target="../embeddings/oleObject94.bin"/><Relationship Id="rId4" Type="http://schemas.openxmlformats.org/officeDocument/2006/relationships/notesSlide" Target="../notesSlides/notesSlide60.xml"/></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138.emf"/><Relationship Id="rId5" Type="http://schemas.openxmlformats.org/officeDocument/2006/relationships/oleObject" Target="../embeddings/oleObject95.bin"/><Relationship Id="rId4" Type="http://schemas.openxmlformats.org/officeDocument/2006/relationships/notesSlide" Target="../notesSlides/notesSlide61.xml"/></Relationships>
</file>

<file path=ppt/slides/_rels/slide63.xml.rels><?xml version="1.0" encoding="UTF-8" standalone="yes"?>
<Relationships xmlns="http://schemas.openxmlformats.org/package/2006/relationships"><Relationship Id="rId8" Type="http://schemas.microsoft.com/office/2007/relationships/hdphoto" Target="../media/hdphoto11.wdp"/><Relationship Id="rId3" Type="http://schemas.openxmlformats.org/officeDocument/2006/relationships/slideLayout" Target="../slideLayouts/slideLayout31.xml"/><Relationship Id="rId7" Type="http://schemas.openxmlformats.org/officeDocument/2006/relationships/image" Target="../media/image140.png"/><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139.emf"/><Relationship Id="rId5" Type="http://schemas.openxmlformats.org/officeDocument/2006/relationships/oleObject" Target="../embeddings/oleObject96.bin"/><Relationship Id="rId10" Type="http://schemas.microsoft.com/office/2007/relationships/hdphoto" Target="../media/hdphoto12.wdp"/><Relationship Id="rId4" Type="http://schemas.openxmlformats.org/officeDocument/2006/relationships/notesSlide" Target="../notesSlides/notesSlide62.xml"/><Relationship Id="rId9" Type="http://schemas.openxmlformats.org/officeDocument/2006/relationships/image" Target="../media/image141.png"/></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43.jpg"/><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142.emf"/><Relationship Id="rId5" Type="http://schemas.openxmlformats.org/officeDocument/2006/relationships/oleObject" Target="../embeddings/oleObject97.bin"/><Relationship Id="rId4" Type="http://schemas.openxmlformats.org/officeDocument/2006/relationships/notesSlide" Target="../notesSlides/notesSlide63.xml"/></Relationships>
</file>

<file path=ppt/slides/_rels/slide6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45.jpeg"/><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144.emf"/><Relationship Id="rId5" Type="http://schemas.openxmlformats.org/officeDocument/2006/relationships/oleObject" Target="../embeddings/oleObject98.bin"/><Relationship Id="rId4" Type="http://schemas.openxmlformats.org/officeDocument/2006/relationships/notesSlide" Target="../notesSlides/notesSlide64.xml"/></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47.jpeg"/><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146.emf"/><Relationship Id="rId5" Type="http://schemas.openxmlformats.org/officeDocument/2006/relationships/oleObject" Target="../embeddings/oleObject99.bin"/><Relationship Id="rId4" Type="http://schemas.openxmlformats.org/officeDocument/2006/relationships/notesSlide" Target="../notesSlides/notesSlide65.xml"/></Relationships>
</file>

<file path=ppt/slides/_rels/slide67.xml.rels><?xml version="1.0" encoding="UTF-8" standalone="yes"?>
<Relationships xmlns="http://schemas.openxmlformats.org/package/2006/relationships"><Relationship Id="rId8" Type="http://schemas.openxmlformats.org/officeDocument/2006/relationships/image" Target="../media/image149.jpeg"/><Relationship Id="rId3" Type="http://schemas.openxmlformats.org/officeDocument/2006/relationships/slideLayout" Target="../slideLayouts/slideLayout10.xml"/><Relationship Id="rId7" Type="http://schemas.openxmlformats.org/officeDocument/2006/relationships/image" Target="../media/image148.jpeg"/><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146.emf"/><Relationship Id="rId5" Type="http://schemas.openxmlformats.org/officeDocument/2006/relationships/oleObject" Target="../embeddings/oleObject100.bin"/><Relationship Id="rId4" Type="http://schemas.openxmlformats.org/officeDocument/2006/relationships/notesSlide" Target="../notesSlides/notesSlide66.xml"/></Relationships>
</file>

<file path=ppt/slides/_rels/slide68.xml.rels><?xml version="1.0" encoding="UTF-8" standalone="yes"?>
<Relationships xmlns="http://schemas.openxmlformats.org/package/2006/relationships"><Relationship Id="rId8" Type="http://schemas.openxmlformats.org/officeDocument/2006/relationships/image" Target="../media/image149.jpeg"/><Relationship Id="rId3" Type="http://schemas.openxmlformats.org/officeDocument/2006/relationships/slideLayout" Target="../slideLayouts/slideLayout10.xml"/><Relationship Id="rId7" Type="http://schemas.openxmlformats.org/officeDocument/2006/relationships/image" Target="../media/image148.jpeg"/><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146.emf"/><Relationship Id="rId5" Type="http://schemas.openxmlformats.org/officeDocument/2006/relationships/oleObject" Target="../embeddings/oleObject101.bin"/><Relationship Id="rId4" Type="http://schemas.openxmlformats.org/officeDocument/2006/relationships/notesSlide" Target="../notesSlides/notesSlide67.xml"/><Relationship Id="rId9" Type="http://schemas.openxmlformats.org/officeDocument/2006/relationships/image" Target="../media/image147.jpeg"/></Relationships>
</file>

<file path=ppt/slides/_rels/slide69.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150.emf"/><Relationship Id="rId5" Type="http://schemas.openxmlformats.org/officeDocument/2006/relationships/oleObject" Target="../embeddings/oleObject102.bin"/><Relationship Id="rId4" Type="http://schemas.openxmlformats.org/officeDocument/2006/relationships/notesSlide" Target="../notesSlides/notesSlide68.xml"/></Relationships>
</file>

<file path=ppt/slides/_rels/slide7.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39.emf"/><Relationship Id="rId5" Type="http://schemas.openxmlformats.org/officeDocument/2006/relationships/oleObject" Target="../embeddings/oleObject41.bin"/><Relationship Id="rId4" Type="http://schemas.openxmlformats.org/officeDocument/2006/relationships/notesSlide" Target="../notesSlides/notesSlide7.xml"/></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150.emf"/><Relationship Id="rId5" Type="http://schemas.openxmlformats.org/officeDocument/2006/relationships/oleObject" Target="../embeddings/oleObject103.bin"/><Relationship Id="rId4" Type="http://schemas.openxmlformats.org/officeDocument/2006/relationships/notesSlide" Target="../notesSlides/notesSlide69.xml"/></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150.emf"/><Relationship Id="rId5" Type="http://schemas.openxmlformats.org/officeDocument/2006/relationships/oleObject" Target="../embeddings/oleObject104.bin"/><Relationship Id="rId4" Type="http://schemas.openxmlformats.org/officeDocument/2006/relationships/notesSlide" Target="../notesSlides/notesSlide70.xml"/></Relationships>
</file>

<file path=ppt/slides/_rels/slide72.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slideLayout" Target="../slideLayouts/slideLayout29.xml"/><Relationship Id="rId7" Type="http://schemas.openxmlformats.org/officeDocument/2006/relationships/image" Target="../media/image153.svg"/><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152.png"/><Relationship Id="rId5" Type="http://schemas.openxmlformats.org/officeDocument/2006/relationships/image" Target="../media/image151.emf"/><Relationship Id="rId4" Type="http://schemas.openxmlformats.org/officeDocument/2006/relationships/oleObject" Target="../embeddings/oleObject105.bin"/><Relationship Id="rId9" Type="http://schemas.openxmlformats.org/officeDocument/2006/relationships/image" Target="../media/image155.svg"/></Relationships>
</file>

<file path=ppt/slides/_rels/slide73.xml.rels><?xml version="1.0" encoding="UTF-8" standalone="yes"?>
<Relationships xmlns="http://schemas.openxmlformats.org/package/2006/relationships"><Relationship Id="rId8" Type="http://schemas.openxmlformats.org/officeDocument/2006/relationships/image" Target="../media/image154.png"/><Relationship Id="rId3" Type="http://schemas.openxmlformats.org/officeDocument/2006/relationships/slideLayout" Target="../slideLayouts/slideLayout29.xml"/><Relationship Id="rId7" Type="http://schemas.openxmlformats.org/officeDocument/2006/relationships/image" Target="../media/image157.svg"/><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156.png"/><Relationship Id="rId5" Type="http://schemas.openxmlformats.org/officeDocument/2006/relationships/image" Target="../media/image151.emf"/><Relationship Id="rId10" Type="http://schemas.openxmlformats.org/officeDocument/2006/relationships/image" Target="../media/image158.svg"/><Relationship Id="rId4" Type="http://schemas.openxmlformats.org/officeDocument/2006/relationships/oleObject" Target="../embeddings/oleObject106.bin"/><Relationship Id="rId9" Type="http://schemas.openxmlformats.org/officeDocument/2006/relationships/image" Target="../media/image155.svg"/></Relationships>
</file>

<file path=ppt/slides/_rels/slide74.xml.rels><?xml version="1.0" encoding="UTF-8" standalone="yes"?>
<Relationships xmlns="http://schemas.openxmlformats.org/package/2006/relationships"><Relationship Id="rId8" Type="http://schemas.openxmlformats.org/officeDocument/2006/relationships/image" Target="../media/image161.png"/><Relationship Id="rId3" Type="http://schemas.openxmlformats.org/officeDocument/2006/relationships/slideLayout" Target="../slideLayouts/slideLayout12.xml"/><Relationship Id="rId7" Type="http://schemas.openxmlformats.org/officeDocument/2006/relationships/image" Target="../media/image160.jpeg"/><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159.emf"/><Relationship Id="rId5" Type="http://schemas.openxmlformats.org/officeDocument/2006/relationships/oleObject" Target="../embeddings/oleObject107.bin"/><Relationship Id="rId4" Type="http://schemas.openxmlformats.org/officeDocument/2006/relationships/notesSlide" Target="../notesSlides/notesSlide71.xml"/><Relationship Id="rId9" Type="http://schemas.openxmlformats.org/officeDocument/2006/relationships/image" Target="../media/image162.svg"/></Relationships>
</file>

<file path=ppt/slides/_rels/slide75.xml.rels><?xml version="1.0" encoding="UTF-8" standalone="yes"?>
<Relationships xmlns="http://schemas.openxmlformats.org/package/2006/relationships"><Relationship Id="rId3" Type="http://schemas.openxmlformats.org/officeDocument/2006/relationships/slideLayout" Target="../slideLayouts/slideLayout22.xml"/><Relationship Id="rId7" Type="http://schemas.openxmlformats.org/officeDocument/2006/relationships/image" Target="../media/image164.jpeg"/><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163.emf"/><Relationship Id="rId5" Type="http://schemas.openxmlformats.org/officeDocument/2006/relationships/oleObject" Target="../embeddings/oleObject108.bin"/><Relationship Id="rId4" Type="http://schemas.openxmlformats.org/officeDocument/2006/relationships/notesSlide" Target="../notesSlides/notesSlide72.xml"/></Relationships>
</file>

<file path=ppt/slides/_rels/slide76.xml.rels><?xml version="1.0" encoding="UTF-8" standalone="yes"?>
<Relationships xmlns="http://schemas.openxmlformats.org/package/2006/relationships"><Relationship Id="rId8" Type="http://schemas.microsoft.com/office/2007/relationships/hdphoto" Target="../media/hdphoto13.wdp"/><Relationship Id="rId3" Type="http://schemas.openxmlformats.org/officeDocument/2006/relationships/slideLayout" Target="../slideLayouts/slideLayout22.xml"/><Relationship Id="rId7" Type="http://schemas.openxmlformats.org/officeDocument/2006/relationships/image" Target="../media/image166.png"/><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165.emf"/><Relationship Id="rId5" Type="http://schemas.openxmlformats.org/officeDocument/2006/relationships/oleObject" Target="../embeddings/oleObject109.bin"/><Relationship Id="rId4" Type="http://schemas.openxmlformats.org/officeDocument/2006/relationships/notesSlide" Target="../notesSlides/notesSlide73.xml"/><Relationship Id="rId9" Type="http://schemas.openxmlformats.org/officeDocument/2006/relationships/image" Target="../media/image167.jpeg"/></Relationships>
</file>

<file path=ppt/slides/_rels/slide77.xml.rels><?xml version="1.0" encoding="UTF-8" standalone="yes"?>
<Relationships xmlns="http://schemas.openxmlformats.org/package/2006/relationships"><Relationship Id="rId8" Type="http://schemas.openxmlformats.org/officeDocument/2006/relationships/image" Target="../media/image170.png"/><Relationship Id="rId3" Type="http://schemas.openxmlformats.org/officeDocument/2006/relationships/slideLayout" Target="../slideLayouts/slideLayout22.xml"/><Relationship Id="rId7" Type="http://schemas.openxmlformats.org/officeDocument/2006/relationships/image" Target="../media/image169.jpeg"/><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168.emf"/><Relationship Id="rId5" Type="http://schemas.openxmlformats.org/officeDocument/2006/relationships/oleObject" Target="../embeddings/oleObject110.bin"/><Relationship Id="rId4" Type="http://schemas.openxmlformats.org/officeDocument/2006/relationships/notesSlide" Target="../notesSlides/notesSlide74.xml"/><Relationship Id="rId9" Type="http://schemas.microsoft.com/office/2007/relationships/hdphoto" Target="../media/hdphoto14.wdp"/></Relationships>
</file>

<file path=ppt/slides/_rels/slide78.xml.rels><?xml version="1.0" encoding="UTF-8" standalone="yes"?>
<Relationships xmlns="http://schemas.openxmlformats.org/package/2006/relationships"><Relationship Id="rId8" Type="http://schemas.openxmlformats.org/officeDocument/2006/relationships/image" Target="../media/image173.png"/><Relationship Id="rId3" Type="http://schemas.openxmlformats.org/officeDocument/2006/relationships/slideLayout" Target="../slideLayouts/slideLayout22.xml"/><Relationship Id="rId7" Type="http://schemas.openxmlformats.org/officeDocument/2006/relationships/image" Target="../media/image172.jpeg"/><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171.emf"/><Relationship Id="rId5" Type="http://schemas.openxmlformats.org/officeDocument/2006/relationships/oleObject" Target="../embeddings/oleObject111.bin"/><Relationship Id="rId4" Type="http://schemas.openxmlformats.org/officeDocument/2006/relationships/notesSlide" Target="../notesSlides/notesSlide75.xml"/></Relationships>
</file>

<file path=ppt/slides/_rels/slide79.xml.rels><?xml version="1.0" encoding="UTF-8" standalone="yes"?>
<Relationships xmlns="http://schemas.openxmlformats.org/package/2006/relationships"><Relationship Id="rId8" Type="http://schemas.microsoft.com/office/2007/relationships/hdphoto" Target="../media/hdphoto15.wdp"/><Relationship Id="rId3" Type="http://schemas.openxmlformats.org/officeDocument/2006/relationships/slideLayout" Target="../slideLayouts/slideLayout15.xml"/><Relationship Id="rId7" Type="http://schemas.openxmlformats.org/officeDocument/2006/relationships/image" Target="../media/image175.png"/><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174.emf"/><Relationship Id="rId5" Type="http://schemas.openxmlformats.org/officeDocument/2006/relationships/oleObject" Target="../embeddings/oleObject112.bin"/><Relationship Id="rId4" Type="http://schemas.openxmlformats.org/officeDocument/2006/relationships/notesSlide" Target="../notesSlides/notesSlide76.xml"/></Relationships>
</file>

<file path=ppt/slides/_rels/slide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39.emf"/><Relationship Id="rId5" Type="http://schemas.openxmlformats.org/officeDocument/2006/relationships/oleObject" Target="../embeddings/oleObject42.bin"/><Relationship Id="rId4" Type="http://schemas.openxmlformats.org/officeDocument/2006/relationships/notesSlide" Target="../notesSlides/notesSlide8.xml"/><Relationship Id="rId9" Type="http://schemas.openxmlformats.org/officeDocument/2006/relationships/image" Target="../media/image42.png"/></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177.jpg"/><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176.emf"/><Relationship Id="rId5" Type="http://schemas.openxmlformats.org/officeDocument/2006/relationships/oleObject" Target="../embeddings/oleObject113.bin"/><Relationship Id="rId4" Type="http://schemas.openxmlformats.org/officeDocument/2006/relationships/notesSlide" Target="../notesSlides/notesSlide77.xml"/></Relationships>
</file>

<file path=ppt/slides/_rels/slide81.xml.rels><?xml version="1.0" encoding="UTF-8" standalone="yes"?>
<Relationships xmlns="http://schemas.openxmlformats.org/package/2006/relationships"><Relationship Id="rId3" Type="http://schemas.openxmlformats.org/officeDocument/2006/relationships/image" Target="../media/image178.png"/><Relationship Id="rId2" Type="http://schemas.openxmlformats.org/officeDocument/2006/relationships/notesSlide" Target="../notesSlides/notesSlide78.xml"/><Relationship Id="rId1" Type="http://schemas.openxmlformats.org/officeDocument/2006/relationships/slideLayout" Target="../slideLayouts/slideLayout13.xml"/><Relationship Id="rId5" Type="http://schemas.openxmlformats.org/officeDocument/2006/relationships/image" Target="../media/image179.jpeg"/><Relationship Id="rId4" Type="http://schemas.microsoft.com/office/2007/relationships/hdphoto" Target="../media/hdphoto16.wdp"/></Relationships>
</file>

<file path=ppt/slides/_rels/slide82.xml.rels><?xml version="1.0" encoding="UTF-8" standalone="yes"?>
<Relationships xmlns="http://schemas.openxmlformats.org/package/2006/relationships"><Relationship Id="rId8" Type="http://schemas.openxmlformats.org/officeDocument/2006/relationships/image" Target="../media/image178.png"/><Relationship Id="rId3" Type="http://schemas.openxmlformats.org/officeDocument/2006/relationships/slideLayout" Target="../slideLayouts/slideLayout13.xml"/><Relationship Id="rId7" Type="http://schemas.openxmlformats.org/officeDocument/2006/relationships/image" Target="../media/image179.jpeg"/><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181.png"/><Relationship Id="rId5" Type="http://schemas.openxmlformats.org/officeDocument/2006/relationships/image" Target="../media/image180.emf"/><Relationship Id="rId4" Type="http://schemas.openxmlformats.org/officeDocument/2006/relationships/oleObject" Target="../embeddings/oleObject114.bin"/><Relationship Id="rId9" Type="http://schemas.microsoft.com/office/2007/relationships/hdphoto" Target="../media/hdphoto16.wdp"/></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183.jpeg"/><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182.emf"/><Relationship Id="rId5" Type="http://schemas.openxmlformats.org/officeDocument/2006/relationships/oleObject" Target="../embeddings/oleObject115.bin"/><Relationship Id="rId4" Type="http://schemas.openxmlformats.org/officeDocument/2006/relationships/notesSlide" Target="../notesSlides/notesSlide79.xml"/></Relationships>
</file>

<file path=ppt/slides/_rels/slide84.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slideLayout" Target="../slideLayouts/slideLayout22.xml"/><Relationship Id="rId7" Type="http://schemas.openxmlformats.org/officeDocument/2006/relationships/image" Target="../media/image184.jpeg"/><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165.emf"/><Relationship Id="rId5" Type="http://schemas.openxmlformats.org/officeDocument/2006/relationships/oleObject" Target="../embeddings/oleObject116.bin"/><Relationship Id="rId10" Type="http://schemas.microsoft.com/office/2007/relationships/hdphoto" Target="../media/hdphoto17.wdp"/><Relationship Id="rId4" Type="http://schemas.openxmlformats.org/officeDocument/2006/relationships/notesSlide" Target="../notesSlides/notesSlide80.xml"/><Relationship Id="rId9" Type="http://schemas.openxmlformats.org/officeDocument/2006/relationships/image" Target="../media/image186.png"/></Relationships>
</file>

<file path=ppt/slides/_rels/slide85.xml.rels><?xml version="1.0" encoding="UTF-8" standalone="yes"?>
<Relationships xmlns="http://schemas.openxmlformats.org/package/2006/relationships"><Relationship Id="rId8" Type="http://schemas.openxmlformats.org/officeDocument/2006/relationships/image" Target="../media/image188.png"/><Relationship Id="rId3" Type="http://schemas.openxmlformats.org/officeDocument/2006/relationships/slideLayout" Target="../slideLayouts/slideLayout22.xml"/><Relationship Id="rId7" Type="http://schemas.openxmlformats.org/officeDocument/2006/relationships/image" Target="../media/image187.jpeg"/><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165.emf"/><Relationship Id="rId5" Type="http://schemas.openxmlformats.org/officeDocument/2006/relationships/oleObject" Target="../embeddings/oleObject117.bin"/><Relationship Id="rId4" Type="http://schemas.openxmlformats.org/officeDocument/2006/relationships/notesSlide" Target="../notesSlides/notesSlide81.xml"/></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20.xml"/><Relationship Id="rId7" Type="http://schemas.openxmlformats.org/officeDocument/2006/relationships/image" Target="../media/image190.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189.emf"/><Relationship Id="rId5" Type="http://schemas.openxmlformats.org/officeDocument/2006/relationships/oleObject" Target="../embeddings/oleObject118.bin"/><Relationship Id="rId4" Type="http://schemas.openxmlformats.org/officeDocument/2006/relationships/notesSlide" Target="../notesSlides/notesSlide82.xml"/></Relationships>
</file>

<file path=ppt/slides/_rels/slide87.xml.rels><?xml version="1.0" encoding="UTF-8" standalone="yes"?>
<Relationships xmlns="http://schemas.openxmlformats.org/package/2006/relationships"><Relationship Id="rId2" Type="http://schemas.openxmlformats.org/officeDocument/2006/relationships/image" Target="../media/image191.png"/><Relationship Id="rId1" Type="http://schemas.openxmlformats.org/officeDocument/2006/relationships/slideLayout" Target="../slideLayouts/slideLayout20.xml"/></Relationships>
</file>

<file path=ppt/slides/_rels/slide88.xml.rels><?xml version="1.0" encoding="UTF-8" standalone="yes"?>
<Relationships xmlns="http://schemas.openxmlformats.org/package/2006/relationships"><Relationship Id="rId8" Type="http://schemas.microsoft.com/office/2007/relationships/hdphoto" Target="../media/hdphoto18.wdp"/><Relationship Id="rId13" Type="http://schemas.openxmlformats.org/officeDocument/2006/relationships/hyperlink" Target="https://www.forentrepreneurs.com/why-startups-fail/#:~:text=An%20incredibly%20common%20problem%20that,is%20a%20weak%20management%20team.&amp;text=Weak%20management%20teams%20make%20mistakes,ideas%20before%20and%20during%20development" TargetMode="External"/><Relationship Id="rId3" Type="http://schemas.openxmlformats.org/officeDocument/2006/relationships/slideLayout" Target="../slideLayouts/slideLayout19.xml"/><Relationship Id="rId7" Type="http://schemas.openxmlformats.org/officeDocument/2006/relationships/image" Target="../media/image193.png"/><Relationship Id="rId12" Type="http://schemas.openxmlformats.org/officeDocument/2006/relationships/hyperlink" Target="https://www.frac.tl/work/marketing-research/why-startups-fail-study/" TargetMode="External"/><Relationship Id="rId2" Type="http://schemas.openxmlformats.org/officeDocument/2006/relationships/tags" Target="../tags/tag120.xml"/><Relationship Id="rId16" Type="http://schemas.openxmlformats.org/officeDocument/2006/relationships/hyperlink" Target="https://www.statista.com/statistics/296695/preferred-mobile-payment-service-providers-mature-markets/" TargetMode="External"/><Relationship Id="rId1" Type="http://schemas.openxmlformats.org/officeDocument/2006/relationships/vmlDrawing" Target="../drawings/vmlDrawing119.vml"/><Relationship Id="rId6" Type="http://schemas.openxmlformats.org/officeDocument/2006/relationships/image" Target="../media/image192.emf"/><Relationship Id="rId11" Type="http://schemas.openxmlformats.org/officeDocument/2006/relationships/hyperlink" Target="https://hbr.org/2019/12/why-your-startup-wont-last" TargetMode="External"/><Relationship Id="rId5" Type="http://schemas.openxmlformats.org/officeDocument/2006/relationships/oleObject" Target="../embeddings/oleObject119.bin"/><Relationship Id="rId15" Type="http://schemas.openxmlformats.org/officeDocument/2006/relationships/hyperlink" Target="https://builtin.com/blockchain/blockchain-applications" TargetMode="External"/><Relationship Id="rId10" Type="http://schemas.openxmlformats.org/officeDocument/2006/relationships/hyperlink" Target="https://appinventiv.com/blog/pwa-for-smes/" TargetMode="External"/><Relationship Id="rId4" Type="http://schemas.openxmlformats.org/officeDocument/2006/relationships/notesSlide" Target="../notesSlides/notesSlide83.xml"/><Relationship Id="rId9" Type="http://schemas.openxmlformats.org/officeDocument/2006/relationships/hyperlink" Target="https://www.eu-startups.com/2018/09/the-10-most-common-reasons-why-startups-fail/" TargetMode="External"/><Relationship Id="rId14" Type="http://schemas.openxmlformats.org/officeDocument/2006/relationships/hyperlink" Target="https://www.businessofapps.com/data/spotify-statistics/" TargetMode="External"/></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195.jpeg"/><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194.emf"/><Relationship Id="rId5" Type="http://schemas.openxmlformats.org/officeDocument/2006/relationships/oleObject" Target="../embeddings/oleObject120.bin"/><Relationship Id="rId4" Type="http://schemas.openxmlformats.org/officeDocument/2006/relationships/notesSlide" Target="../notesSlides/notesSlide84.xml"/></Relationships>
</file>

<file path=ppt/slides/_rels/slide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39.emf"/><Relationship Id="rId11" Type="http://schemas.microsoft.com/office/2007/relationships/hdphoto" Target="../media/hdphoto1.wdp"/><Relationship Id="rId5" Type="http://schemas.openxmlformats.org/officeDocument/2006/relationships/oleObject" Target="../embeddings/oleObject43.bin"/><Relationship Id="rId10" Type="http://schemas.openxmlformats.org/officeDocument/2006/relationships/image" Target="../media/image43.png"/><Relationship Id="rId4" Type="http://schemas.openxmlformats.org/officeDocument/2006/relationships/notesSlide" Target="../notesSlides/notesSlide9.xml"/><Relationship Id="rId9" Type="http://schemas.openxmlformats.org/officeDocument/2006/relationships/image" Target="../media/image42.png"/></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196.emf"/><Relationship Id="rId5" Type="http://schemas.openxmlformats.org/officeDocument/2006/relationships/oleObject" Target="../embeddings/oleObject121.bin"/><Relationship Id="rId4" Type="http://schemas.openxmlformats.org/officeDocument/2006/relationships/notesSlide" Target="../notesSlides/notesSlide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54CE4A-27B0-6D40-BCF0-4E9868824F6E}"/>
              </a:ext>
            </a:extLst>
          </p:cNvPr>
          <p:cNvGraphicFramePr>
            <a:graphicFrameLocks noChangeAspect="1"/>
          </p:cNvGraphicFramePr>
          <p:nvPr>
            <p:custDataLst>
              <p:tags r:id="rId2"/>
            </p:custDataLst>
            <p:extLst>
              <p:ext uri="{D42A27DB-BD31-4B8C-83A1-F6EECF244321}">
                <p14:modId xmlns:p14="http://schemas.microsoft.com/office/powerpoint/2010/main" val="40929072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362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2" name="제목 51">
            <a:extLst>
              <a:ext uri="{FF2B5EF4-FFF2-40B4-BE49-F238E27FC236}">
                <a16:creationId xmlns:a16="http://schemas.microsoft.com/office/drawing/2014/main" id="{47892869-609A-468F-B177-7D2D165E6FD0}"/>
              </a:ext>
            </a:extLst>
          </p:cNvPr>
          <p:cNvSpPr>
            <a:spLocks noGrp="1"/>
          </p:cNvSpPr>
          <p:nvPr>
            <p:ph type="title"/>
          </p:nvPr>
        </p:nvSpPr>
        <p:spPr>
          <a:xfrm>
            <a:off x="7854967" y="2120612"/>
            <a:ext cx="4113226" cy="1794163"/>
          </a:xfrm>
        </p:spPr>
        <p:txBody>
          <a:bodyPr vert="horz"/>
          <a:lstStyle/>
          <a:p>
            <a:r>
              <a:rPr lang="en-US" altLang="ko-KR" dirty="0"/>
              <a:t>FAILURE</a:t>
            </a:r>
            <a:br>
              <a:rPr lang="en-US" altLang="ko-KR" dirty="0"/>
            </a:br>
            <a:r>
              <a:rPr lang="en-US" altLang="ko-KR" dirty="0"/>
              <a:t>BY MINDSET</a:t>
            </a:r>
            <a:endParaRPr lang="ko-KR" altLang="en-US" dirty="0"/>
          </a:p>
        </p:txBody>
      </p:sp>
      <p:cxnSp>
        <p:nvCxnSpPr>
          <p:cNvPr id="58" name="직선 연결선 57">
            <a:extLst>
              <a:ext uri="{FF2B5EF4-FFF2-40B4-BE49-F238E27FC236}">
                <a16:creationId xmlns:a16="http://schemas.microsoft.com/office/drawing/2014/main" id="{4709E0D8-BDE1-4909-8D71-95827F3C6B54}"/>
              </a:ext>
            </a:extLst>
          </p:cNvPr>
          <p:cNvCxnSpPr>
            <a:cxnSpLocks/>
          </p:cNvCxnSpPr>
          <p:nvPr/>
        </p:nvCxnSpPr>
        <p:spPr>
          <a:xfrm>
            <a:off x="7794171" y="3406249"/>
            <a:ext cx="4397829"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 name="자유형: 도형 3">
            <a:extLst>
              <a:ext uri="{FF2B5EF4-FFF2-40B4-BE49-F238E27FC236}">
                <a16:creationId xmlns:a16="http://schemas.microsoft.com/office/drawing/2014/main" id="{62455AEA-2136-4BA4-A47D-E90736AAFA7B}"/>
              </a:ext>
            </a:extLst>
          </p:cNvPr>
          <p:cNvSpPr/>
          <p:nvPr/>
        </p:nvSpPr>
        <p:spPr>
          <a:xfrm>
            <a:off x="3229009" y="3126989"/>
            <a:ext cx="2088609" cy="2049357"/>
          </a:xfrm>
          <a:custGeom>
            <a:avLst/>
            <a:gdLst>
              <a:gd name="connsiteX0" fmla="*/ 1185141 w 1226103"/>
              <a:gd name="connsiteY0" fmla="*/ 0 h 1203061"/>
              <a:gd name="connsiteX1" fmla="*/ 1207139 w 1226103"/>
              <a:gd name="connsiteY1" fmla="*/ 85553 h 1203061"/>
              <a:gd name="connsiteX2" fmla="*/ 1226103 w 1226103"/>
              <a:gd name="connsiteY2" fmla="*/ 273676 h 1203061"/>
              <a:gd name="connsiteX3" fmla="*/ 388092 w 1226103"/>
              <a:gd name="connsiteY3" fmla="*/ 1202308 h 1203061"/>
              <a:gd name="connsiteX4" fmla="*/ 373190 w 1226103"/>
              <a:gd name="connsiteY4" fmla="*/ 1203061 h 1203061"/>
              <a:gd name="connsiteX5" fmla="*/ 258080 w 1226103"/>
              <a:gd name="connsiteY5" fmla="*/ 1108087 h 1203061"/>
              <a:gd name="connsiteX6" fmla="*/ 3642 w 1226103"/>
              <a:gd name="connsiteY6" fmla="*/ 636160 h 1203061"/>
              <a:gd name="connsiteX7" fmla="*/ 0 w 1226103"/>
              <a:gd name="connsiteY7" fmla="*/ 612293 h 1203061"/>
              <a:gd name="connsiteX8" fmla="*/ 15072 w 1226103"/>
              <a:gd name="connsiteY8" fmla="*/ 617809 h 1203061"/>
              <a:gd name="connsiteX9" fmla="*/ 292652 w 1226103"/>
              <a:gd name="connsiteY9" fmla="*/ 659775 h 1203061"/>
              <a:gd name="connsiteX10" fmla="*/ 655993 w 1226103"/>
              <a:gd name="connsiteY10" fmla="*/ 586420 h 1203061"/>
              <a:gd name="connsiteX11" fmla="*/ 692683 w 1226103"/>
              <a:gd name="connsiteY11" fmla="*/ 568746 h 1203061"/>
              <a:gd name="connsiteX12" fmla="*/ 737590 w 1226103"/>
              <a:gd name="connsiteY12" fmla="*/ 547113 h 1203061"/>
              <a:gd name="connsiteX13" fmla="*/ 1184137 w 1226103"/>
              <a:gd name="connsiteY13" fmla="*/ 3904 h 120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6103" h="1203061">
                <a:moveTo>
                  <a:pt x="1185141" y="0"/>
                </a:moveTo>
                <a:lnTo>
                  <a:pt x="1207139" y="85553"/>
                </a:lnTo>
                <a:cubicBezTo>
                  <a:pt x="1219573" y="146319"/>
                  <a:pt x="1226103" y="209235"/>
                  <a:pt x="1226103" y="273676"/>
                </a:cubicBezTo>
                <a:cubicBezTo>
                  <a:pt x="1226103" y="756987"/>
                  <a:pt x="858791" y="1154506"/>
                  <a:pt x="388092" y="1202308"/>
                </a:cubicBezTo>
                <a:lnTo>
                  <a:pt x="373190" y="1203061"/>
                </a:lnTo>
                <a:lnTo>
                  <a:pt x="258080" y="1108087"/>
                </a:lnTo>
                <a:cubicBezTo>
                  <a:pt x="131389" y="981396"/>
                  <a:pt x="40946" y="818457"/>
                  <a:pt x="3642" y="636160"/>
                </a:cubicBezTo>
                <a:lnTo>
                  <a:pt x="0" y="612293"/>
                </a:lnTo>
                <a:lnTo>
                  <a:pt x="15072" y="617809"/>
                </a:lnTo>
                <a:cubicBezTo>
                  <a:pt x="102759" y="645083"/>
                  <a:pt x="195990" y="659775"/>
                  <a:pt x="292652" y="659775"/>
                </a:cubicBezTo>
                <a:cubicBezTo>
                  <a:pt x="421535" y="659775"/>
                  <a:pt x="544317" y="633655"/>
                  <a:pt x="655993" y="586420"/>
                </a:cubicBezTo>
                <a:lnTo>
                  <a:pt x="692683" y="568746"/>
                </a:lnTo>
                <a:lnTo>
                  <a:pt x="737590" y="547113"/>
                </a:lnTo>
                <a:cubicBezTo>
                  <a:pt x="949213" y="432153"/>
                  <a:pt x="1111408" y="237737"/>
                  <a:pt x="1184137" y="3904"/>
                </a:cubicBezTo>
                <a:close/>
              </a:path>
            </a:pathLst>
          </a:cu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자유형: 도형 4">
            <a:extLst>
              <a:ext uri="{FF2B5EF4-FFF2-40B4-BE49-F238E27FC236}">
                <a16:creationId xmlns:a16="http://schemas.microsoft.com/office/drawing/2014/main" id="{7E6B19F5-C74C-4D8A-868A-B1B7695A020E}"/>
              </a:ext>
            </a:extLst>
          </p:cNvPr>
          <p:cNvSpPr/>
          <p:nvPr/>
        </p:nvSpPr>
        <p:spPr>
          <a:xfrm>
            <a:off x="2137437" y="2307439"/>
            <a:ext cx="1628814" cy="2875834"/>
          </a:xfrm>
          <a:custGeom>
            <a:avLst/>
            <a:gdLst>
              <a:gd name="connsiteX0" fmla="*/ 1515124 w 1552021"/>
              <a:gd name="connsiteY0" fmla="*/ 2715968 h 2740247"/>
              <a:gd name="connsiteX1" fmla="*/ 1552021 w 1552021"/>
              <a:gd name="connsiteY1" fmla="*/ 2738384 h 2740247"/>
              <a:gd name="connsiteX2" fmla="*/ 1515123 w 1552021"/>
              <a:gd name="connsiteY2" fmla="*/ 2740247 h 2740247"/>
              <a:gd name="connsiteX3" fmla="*/ 1478227 w 1552021"/>
              <a:gd name="connsiteY3" fmla="*/ 2738384 h 2740247"/>
              <a:gd name="connsiteX4" fmla="*/ 629210 w 1552021"/>
              <a:gd name="connsiteY4" fmla="*/ 0 h 2740247"/>
              <a:gd name="connsiteX5" fmla="*/ 681044 w 1552021"/>
              <a:gd name="connsiteY5" fmla="*/ 2616 h 2740247"/>
              <a:gd name="connsiteX6" fmla="*/ 1336353 w 1552021"/>
              <a:gd name="connsiteY6" fmla="*/ 204822 h 2740247"/>
              <a:gd name="connsiteX7" fmla="*/ 1431862 w 1552021"/>
              <a:gd name="connsiteY7" fmla="*/ 262845 h 2740247"/>
              <a:gd name="connsiteX8" fmla="*/ 1367632 w 1552021"/>
              <a:gd name="connsiteY8" fmla="*/ 312083 h 2740247"/>
              <a:gd name="connsiteX9" fmla="*/ 844044 w 1552021"/>
              <a:gd name="connsiteY9" fmla="*/ 1457737 h 2740247"/>
              <a:gd name="connsiteX10" fmla="*/ 851866 w 1552021"/>
              <a:gd name="connsiteY10" fmla="*/ 1612649 h 2740247"/>
              <a:gd name="connsiteX11" fmla="*/ 865819 w 1552021"/>
              <a:gd name="connsiteY11" fmla="*/ 1704066 h 2740247"/>
              <a:gd name="connsiteX12" fmla="*/ 874826 w 1552021"/>
              <a:gd name="connsiteY12" fmla="*/ 1763087 h 2740247"/>
              <a:gd name="connsiteX13" fmla="*/ 1512048 w 1552021"/>
              <a:gd name="connsiteY13" fmla="*/ 2714099 h 2740247"/>
              <a:gd name="connsiteX14" fmla="*/ 1515124 w 1552021"/>
              <a:gd name="connsiteY14" fmla="*/ 2715967 h 2740247"/>
              <a:gd name="connsiteX15" fmla="*/ 1478227 w 1552021"/>
              <a:gd name="connsiteY15" fmla="*/ 2738383 h 2740247"/>
              <a:gd name="connsiteX16" fmla="*/ 1360210 w 1552021"/>
              <a:gd name="connsiteY16" fmla="*/ 2732425 h 2740247"/>
              <a:gd name="connsiteX17" fmla="*/ 0 w 1552021"/>
              <a:gd name="connsiteY17" fmla="*/ 1225125 h 2740247"/>
              <a:gd name="connsiteX18" fmla="*/ 30781 w 1552021"/>
              <a:gd name="connsiteY18" fmla="*/ 919775 h 2740247"/>
              <a:gd name="connsiteX19" fmla="*/ 66487 w 1552021"/>
              <a:gd name="connsiteY19" fmla="*/ 780910 h 2740247"/>
              <a:gd name="connsiteX20" fmla="*/ 68116 w 1552021"/>
              <a:gd name="connsiteY20" fmla="*/ 774574 h 2740247"/>
              <a:gd name="connsiteX21" fmla="*/ 469779 w 1552021"/>
              <a:gd name="connsiteY21" fmla="*/ 128376 h 274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021" h="2740247">
                <a:moveTo>
                  <a:pt x="1515124" y="2715968"/>
                </a:moveTo>
                <a:lnTo>
                  <a:pt x="1552021" y="2738384"/>
                </a:lnTo>
                <a:lnTo>
                  <a:pt x="1515123" y="2740247"/>
                </a:lnTo>
                <a:lnTo>
                  <a:pt x="1478227" y="2738384"/>
                </a:lnTo>
                <a:close/>
                <a:moveTo>
                  <a:pt x="629210" y="0"/>
                </a:moveTo>
                <a:lnTo>
                  <a:pt x="681044" y="2616"/>
                </a:lnTo>
                <a:cubicBezTo>
                  <a:pt x="916394" y="26519"/>
                  <a:pt x="1137958" y="97049"/>
                  <a:pt x="1336353" y="204822"/>
                </a:cubicBezTo>
                <a:lnTo>
                  <a:pt x="1431862" y="262845"/>
                </a:lnTo>
                <a:lnTo>
                  <a:pt x="1367632" y="312083"/>
                </a:lnTo>
                <a:cubicBezTo>
                  <a:pt x="1046917" y="589894"/>
                  <a:pt x="844044" y="1000123"/>
                  <a:pt x="844044" y="1457737"/>
                </a:cubicBezTo>
                <a:cubicBezTo>
                  <a:pt x="844044" y="1510036"/>
                  <a:pt x="846695" y="1561715"/>
                  <a:pt x="851866" y="1612649"/>
                </a:cubicBezTo>
                <a:lnTo>
                  <a:pt x="865819" y="1704066"/>
                </a:lnTo>
                <a:lnTo>
                  <a:pt x="874826" y="1763087"/>
                </a:lnTo>
                <a:cubicBezTo>
                  <a:pt x="955557" y="2157610"/>
                  <a:pt x="1189627" y="2496277"/>
                  <a:pt x="1512048" y="2714099"/>
                </a:cubicBezTo>
                <a:lnTo>
                  <a:pt x="1515124" y="2715967"/>
                </a:lnTo>
                <a:lnTo>
                  <a:pt x="1478227" y="2738383"/>
                </a:lnTo>
                <a:lnTo>
                  <a:pt x="1360210" y="2732425"/>
                </a:lnTo>
                <a:cubicBezTo>
                  <a:pt x="596200" y="2654835"/>
                  <a:pt x="0" y="2009606"/>
                  <a:pt x="0" y="1225125"/>
                </a:cubicBezTo>
                <a:cubicBezTo>
                  <a:pt x="0" y="1120528"/>
                  <a:pt x="10599" y="1018406"/>
                  <a:pt x="30781" y="919775"/>
                </a:cubicBezTo>
                <a:lnTo>
                  <a:pt x="66487" y="780910"/>
                </a:lnTo>
                <a:lnTo>
                  <a:pt x="68116" y="774574"/>
                </a:lnTo>
                <a:cubicBezTo>
                  <a:pt x="145587" y="525499"/>
                  <a:pt x="285598" y="303977"/>
                  <a:pt x="469779" y="12837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자유형: 도형 5">
            <a:extLst>
              <a:ext uri="{FF2B5EF4-FFF2-40B4-BE49-F238E27FC236}">
                <a16:creationId xmlns:a16="http://schemas.microsoft.com/office/drawing/2014/main" id="{DC230601-7FCE-4C99-B172-B1E216CF68D4}"/>
              </a:ext>
            </a:extLst>
          </p:cNvPr>
          <p:cNvSpPr/>
          <p:nvPr/>
        </p:nvSpPr>
        <p:spPr>
          <a:xfrm rot="21341135">
            <a:off x="2940976" y="1976247"/>
            <a:ext cx="2240842" cy="2066125"/>
          </a:xfrm>
          <a:custGeom>
            <a:avLst/>
            <a:gdLst>
              <a:gd name="connsiteX0" fmla="*/ 506732 w 1315470"/>
              <a:gd name="connsiteY0" fmla="*/ 2689 h 1212904"/>
              <a:gd name="connsiteX1" fmla="*/ 941934 w 1315470"/>
              <a:gd name="connsiteY1" fmla="*/ 148504 h 1212904"/>
              <a:gd name="connsiteX2" fmla="*/ 991730 w 1315470"/>
              <a:gd name="connsiteY2" fmla="*/ 184147 h 1212904"/>
              <a:gd name="connsiteX3" fmla="*/ 1015161 w 1315470"/>
              <a:gd name="connsiteY3" fmla="*/ 200919 h 1212904"/>
              <a:gd name="connsiteX4" fmla="*/ 1297454 w 1315470"/>
              <a:gd name="connsiteY4" fmla="*/ 572285 h 1212904"/>
              <a:gd name="connsiteX5" fmla="*/ 1315470 w 1315470"/>
              <a:gd name="connsiteY5" fmla="*/ 628101 h 1212904"/>
              <a:gd name="connsiteX6" fmla="*/ 1288430 w 1315470"/>
              <a:gd name="connsiteY6" fmla="*/ 701983 h 1212904"/>
              <a:gd name="connsiteX7" fmla="*/ 825651 w 1315470"/>
              <a:gd name="connsiteY7" fmla="*/ 1211902 h 1212904"/>
              <a:gd name="connsiteX8" fmla="*/ 823572 w 1315470"/>
              <a:gd name="connsiteY8" fmla="*/ 1212904 h 1212904"/>
              <a:gd name="connsiteX9" fmla="*/ 826016 w 1315470"/>
              <a:gd name="connsiteY9" fmla="*/ 1202309 h 1212904"/>
              <a:gd name="connsiteX10" fmla="*/ 838001 w 1315470"/>
              <a:gd name="connsiteY10" fmla="*/ 1107502 h 1212904"/>
              <a:gd name="connsiteX11" fmla="*/ 485848 w 1315470"/>
              <a:gd name="connsiteY11" fmla="*/ 304703 h 1212904"/>
              <a:gd name="connsiteX12" fmla="*/ 484046 w 1315470"/>
              <a:gd name="connsiteY12" fmla="*/ 303412 h 1212904"/>
              <a:gd name="connsiteX13" fmla="*/ 412620 w 1315470"/>
              <a:gd name="connsiteY13" fmla="*/ 252288 h 1212904"/>
              <a:gd name="connsiteX14" fmla="*/ 339866 w 1315470"/>
              <a:gd name="connsiteY14" fmla="*/ 210224 h 1212904"/>
              <a:gd name="connsiteX15" fmla="*/ 339860 w 1315470"/>
              <a:gd name="connsiteY15" fmla="*/ 210219 h 1212904"/>
              <a:gd name="connsiteX16" fmla="*/ 334212 w 1315470"/>
              <a:gd name="connsiteY16" fmla="*/ 206953 h 1212904"/>
              <a:gd name="connsiteX17" fmla="*/ 72226 w 1315470"/>
              <a:gd name="connsiteY17" fmla="*/ 118457 h 1212904"/>
              <a:gd name="connsiteX18" fmla="*/ 0 w 1315470"/>
              <a:gd name="connsiteY18" fmla="*/ 109327 h 1212904"/>
              <a:gd name="connsiteX19" fmla="*/ 54580 w 1315470"/>
              <a:gd name="connsiteY19" fmla="*/ 81558 h 1212904"/>
              <a:gd name="connsiteX20" fmla="*/ 68332 w 1315470"/>
              <a:gd name="connsiteY20" fmla="*/ 76360 h 1212904"/>
              <a:gd name="connsiteX21" fmla="*/ 68333 w 1315470"/>
              <a:gd name="connsiteY21" fmla="*/ 76360 h 1212904"/>
              <a:gd name="connsiteX22" fmla="*/ 160558 w 1315470"/>
              <a:gd name="connsiteY22" fmla="*/ 41503 h 1212904"/>
              <a:gd name="connsiteX23" fmla="*/ 506732 w 1315470"/>
              <a:gd name="connsiteY23" fmla="*/ 2689 h 12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15470" h="1212904">
                <a:moveTo>
                  <a:pt x="506732" y="2689"/>
                </a:moveTo>
                <a:cubicBezTo>
                  <a:pt x="667380" y="14809"/>
                  <a:pt x="815451" y="66909"/>
                  <a:pt x="941934" y="148504"/>
                </a:cubicBezTo>
                <a:lnTo>
                  <a:pt x="991730" y="184147"/>
                </a:lnTo>
                <a:lnTo>
                  <a:pt x="1015161" y="200919"/>
                </a:lnTo>
                <a:cubicBezTo>
                  <a:pt x="1138524" y="298543"/>
                  <a:pt x="1236100" y="426377"/>
                  <a:pt x="1297454" y="572285"/>
                </a:cubicBezTo>
                <a:lnTo>
                  <a:pt x="1315470" y="628101"/>
                </a:lnTo>
                <a:lnTo>
                  <a:pt x="1288430" y="701983"/>
                </a:lnTo>
                <a:cubicBezTo>
                  <a:pt x="1196287" y="919835"/>
                  <a:pt x="1032061" y="1099774"/>
                  <a:pt x="825651" y="1211902"/>
                </a:cubicBezTo>
                <a:lnTo>
                  <a:pt x="823572" y="1212904"/>
                </a:lnTo>
                <a:lnTo>
                  <a:pt x="826016" y="1202309"/>
                </a:lnTo>
                <a:cubicBezTo>
                  <a:pt x="831555" y="1171258"/>
                  <a:pt x="835577" y="1139632"/>
                  <a:pt x="838001" y="1107502"/>
                </a:cubicBezTo>
                <a:cubicBezTo>
                  <a:pt x="862241" y="786208"/>
                  <a:pt x="720824" y="490655"/>
                  <a:pt x="485848" y="304703"/>
                </a:cubicBezTo>
                <a:lnTo>
                  <a:pt x="484046" y="303412"/>
                </a:lnTo>
                <a:lnTo>
                  <a:pt x="412620" y="252288"/>
                </a:lnTo>
                <a:lnTo>
                  <a:pt x="339866" y="210224"/>
                </a:lnTo>
                <a:lnTo>
                  <a:pt x="339860" y="210219"/>
                </a:lnTo>
                <a:lnTo>
                  <a:pt x="334212" y="206953"/>
                </a:lnTo>
                <a:cubicBezTo>
                  <a:pt x="253357" y="165327"/>
                  <a:pt x="165380" y="135073"/>
                  <a:pt x="72226" y="118457"/>
                </a:cubicBezTo>
                <a:lnTo>
                  <a:pt x="0" y="109327"/>
                </a:lnTo>
                <a:lnTo>
                  <a:pt x="54580" y="81558"/>
                </a:lnTo>
                <a:lnTo>
                  <a:pt x="68332" y="76360"/>
                </a:lnTo>
                <a:lnTo>
                  <a:pt x="68333" y="76360"/>
                </a:lnTo>
                <a:lnTo>
                  <a:pt x="160558" y="41503"/>
                </a:lnTo>
                <a:cubicBezTo>
                  <a:pt x="269382" y="7805"/>
                  <a:pt x="386247" y="-6401"/>
                  <a:pt x="506732" y="2689"/>
                </a:cubicBezTo>
                <a:close/>
              </a:path>
            </a:pathLst>
          </a:cu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0" name="TextBox 59">
            <a:extLst>
              <a:ext uri="{FF2B5EF4-FFF2-40B4-BE49-F238E27FC236}">
                <a16:creationId xmlns:a16="http://schemas.microsoft.com/office/drawing/2014/main" id="{79B8EE13-3453-414A-8975-40694BDC8520}"/>
              </a:ext>
            </a:extLst>
          </p:cNvPr>
          <p:cNvSpPr txBox="1"/>
          <p:nvPr/>
        </p:nvSpPr>
        <p:spPr>
          <a:xfrm>
            <a:off x="7625" y="3754199"/>
            <a:ext cx="2517702" cy="26924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Overprotective</a:t>
            </a:r>
          </a:p>
        </p:txBody>
      </p:sp>
      <p:sp>
        <p:nvSpPr>
          <p:cNvPr id="62" name="TextBox 61">
            <a:extLst>
              <a:ext uri="{FF2B5EF4-FFF2-40B4-BE49-F238E27FC236}">
                <a16:creationId xmlns:a16="http://schemas.microsoft.com/office/drawing/2014/main" id="{D61A8B58-34C1-4E91-BF8C-5DD506726630}"/>
              </a:ext>
            </a:extLst>
          </p:cNvPr>
          <p:cNvSpPr txBox="1"/>
          <p:nvPr/>
        </p:nvSpPr>
        <p:spPr>
          <a:xfrm>
            <a:off x="626767" y="3136934"/>
            <a:ext cx="1279420"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IDEA</a:t>
            </a:r>
            <a:endParaRPr lang="ko-KR" altLang="en-US" sz="2800" spc="300" dirty="0">
              <a:solidFill>
                <a:schemeClr val="bg1"/>
              </a:solidFill>
              <a:latin typeface="+mj-lt"/>
              <a:ea typeface="+mj-ea"/>
              <a:cs typeface="+mj-cs"/>
            </a:endParaRPr>
          </a:p>
        </p:txBody>
      </p:sp>
      <p:sp>
        <p:nvSpPr>
          <p:cNvPr id="63" name="TextBox 62">
            <a:extLst>
              <a:ext uri="{FF2B5EF4-FFF2-40B4-BE49-F238E27FC236}">
                <a16:creationId xmlns:a16="http://schemas.microsoft.com/office/drawing/2014/main" id="{6BA53422-1E54-42AF-A9E1-839468E9E577}"/>
              </a:ext>
            </a:extLst>
          </p:cNvPr>
          <p:cNvSpPr txBox="1"/>
          <p:nvPr/>
        </p:nvSpPr>
        <p:spPr>
          <a:xfrm>
            <a:off x="4361917" y="1894885"/>
            <a:ext cx="2517702" cy="26924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Too Serious</a:t>
            </a:r>
          </a:p>
        </p:txBody>
      </p:sp>
      <p:sp>
        <p:nvSpPr>
          <p:cNvPr id="64" name="TextBox 63">
            <a:extLst>
              <a:ext uri="{FF2B5EF4-FFF2-40B4-BE49-F238E27FC236}">
                <a16:creationId xmlns:a16="http://schemas.microsoft.com/office/drawing/2014/main" id="{DC5A4949-4901-47B5-AD83-6E4E0DD5000B}"/>
              </a:ext>
            </a:extLst>
          </p:cNvPr>
          <p:cNvSpPr txBox="1"/>
          <p:nvPr/>
        </p:nvSpPr>
        <p:spPr>
          <a:xfrm>
            <a:off x="4981059" y="1277620"/>
            <a:ext cx="1279420"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NDA</a:t>
            </a:r>
            <a:endParaRPr lang="ko-KR" altLang="en-US" sz="2800" spc="300" dirty="0">
              <a:solidFill>
                <a:schemeClr val="bg1"/>
              </a:solidFill>
              <a:latin typeface="+mj-lt"/>
              <a:ea typeface="+mj-ea"/>
              <a:cs typeface="+mj-cs"/>
            </a:endParaRPr>
          </a:p>
        </p:txBody>
      </p:sp>
      <p:sp>
        <p:nvSpPr>
          <p:cNvPr id="65" name="TextBox 64">
            <a:extLst>
              <a:ext uri="{FF2B5EF4-FFF2-40B4-BE49-F238E27FC236}">
                <a16:creationId xmlns:a16="http://schemas.microsoft.com/office/drawing/2014/main" id="{0EC5AF09-78F8-4D04-B242-4E974ADA3D44}"/>
              </a:ext>
            </a:extLst>
          </p:cNvPr>
          <p:cNvSpPr txBox="1"/>
          <p:nvPr/>
        </p:nvSpPr>
        <p:spPr>
          <a:xfrm>
            <a:off x="5070284" y="5251463"/>
            <a:ext cx="2115808" cy="26924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Not hiring the professionals</a:t>
            </a:r>
          </a:p>
        </p:txBody>
      </p:sp>
      <p:sp>
        <p:nvSpPr>
          <p:cNvPr id="66" name="TextBox 65">
            <a:extLst>
              <a:ext uri="{FF2B5EF4-FFF2-40B4-BE49-F238E27FC236}">
                <a16:creationId xmlns:a16="http://schemas.microsoft.com/office/drawing/2014/main" id="{444442A3-44B6-4E50-BB0D-67D35B177B5C}"/>
              </a:ext>
            </a:extLst>
          </p:cNvPr>
          <p:cNvSpPr txBox="1"/>
          <p:nvPr/>
        </p:nvSpPr>
        <p:spPr>
          <a:xfrm>
            <a:off x="5124596" y="4634198"/>
            <a:ext cx="2007184"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EQUITY?</a:t>
            </a:r>
            <a:endParaRPr lang="ko-KR" altLang="en-US" sz="2800" spc="300" dirty="0">
              <a:solidFill>
                <a:schemeClr val="bg1"/>
              </a:solidFill>
              <a:latin typeface="+mj-lt"/>
              <a:ea typeface="+mj-ea"/>
              <a:cs typeface="+mj-cs"/>
            </a:endParaRPr>
          </a:p>
        </p:txBody>
      </p:sp>
      <p:sp>
        <p:nvSpPr>
          <p:cNvPr id="17" name="Rectangle 16">
            <a:extLst>
              <a:ext uri="{FF2B5EF4-FFF2-40B4-BE49-F238E27FC236}">
                <a16:creationId xmlns:a16="http://schemas.microsoft.com/office/drawing/2014/main" id="{6574BAF2-BF0E-4B4D-BD55-7359C778AE65}"/>
              </a:ext>
            </a:extLst>
          </p:cNvPr>
          <p:cNvSpPr/>
          <p:nvPr/>
        </p:nvSpPr>
        <p:spPr>
          <a:xfrm>
            <a:off x="8003788" y="10424279"/>
            <a:ext cx="6096000" cy="646331"/>
          </a:xfrm>
          <a:prstGeom prst="rect">
            <a:avLst/>
          </a:prstGeom>
        </p:spPr>
        <p:txBody>
          <a:bodyPr>
            <a:spAutoFit/>
          </a:bodyPr>
          <a:lstStyle/>
          <a:p>
            <a:br>
              <a:rPr lang="en-US" dirty="0">
                <a:solidFill>
                  <a:schemeClr val="bg1"/>
                </a:solidFill>
              </a:rPr>
            </a:br>
            <a:endParaRPr lang="en-US" dirty="0">
              <a:solidFill>
                <a:schemeClr val="bg1"/>
              </a:solidFill>
            </a:endParaRPr>
          </a:p>
        </p:txBody>
      </p:sp>
      <p:sp>
        <p:nvSpPr>
          <p:cNvPr id="8" name="Rectangle 7">
            <a:extLst>
              <a:ext uri="{FF2B5EF4-FFF2-40B4-BE49-F238E27FC236}">
                <a16:creationId xmlns:a16="http://schemas.microsoft.com/office/drawing/2014/main" id="{FD4EA8D6-C199-5E47-93D1-51B6C97A9A26}"/>
              </a:ext>
            </a:extLst>
          </p:cNvPr>
          <p:cNvSpPr/>
          <p:nvPr/>
        </p:nvSpPr>
        <p:spPr>
          <a:xfrm>
            <a:off x="3632966" y="15459356"/>
            <a:ext cx="6096000" cy="686470"/>
          </a:xfrm>
          <a:prstGeom prst="rect">
            <a:avLst/>
          </a:prstGeom>
        </p:spPr>
        <p:txBody>
          <a:bodyPr>
            <a:spAutoFit/>
          </a:bodyPr>
          <a:lstStyle/>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No professional will accept to be a VC taking </a:t>
            </a:r>
            <a:r>
              <a:rPr lang="en-US" altLang="ko-KR" dirty="0" err="1">
                <a:solidFill>
                  <a:schemeClr val="bg1">
                    <a:lumMod val="95000"/>
                  </a:schemeClr>
                </a:solidFill>
                <a:ea typeface="맑은 고딕" panose="020B0503020000020004" pitchFamily="50" charset="-127"/>
                <a:cs typeface="Calibri" panose="020F0502020204030204" pitchFamily="34" charset="0"/>
              </a:rPr>
              <a:t>equaty</a:t>
            </a:r>
            <a:r>
              <a:rPr lang="en-US" altLang="ko-KR" dirty="0">
                <a:solidFill>
                  <a:schemeClr val="bg1">
                    <a:lumMod val="95000"/>
                  </a:schemeClr>
                </a:solidFill>
                <a:ea typeface="맑은 고딕" panose="020B0503020000020004" pitchFamily="50" charset="-127"/>
                <a:cs typeface="Calibri" panose="020F0502020204030204" pitchFamily="34" charset="0"/>
              </a:rPr>
              <a:t> of a skeptical idea</a:t>
            </a:r>
          </a:p>
        </p:txBody>
      </p:sp>
      <p:sp>
        <p:nvSpPr>
          <p:cNvPr id="44" name="자유형: 도형 5">
            <a:extLst>
              <a:ext uri="{FF2B5EF4-FFF2-40B4-BE49-F238E27FC236}">
                <a16:creationId xmlns:a16="http://schemas.microsoft.com/office/drawing/2014/main" id="{13306F4C-494F-5C41-AAD0-A68FBA0181D0}"/>
              </a:ext>
            </a:extLst>
          </p:cNvPr>
          <p:cNvSpPr/>
          <p:nvPr/>
        </p:nvSpPr>
        <p:spPr>
          <a:xfrm>
            <a:off x="2017609" y="1869842"/>
            <a:ext cx="3419836" cy="3419836"/>
          </a:xfrm>
          <a:prstGeom prst="ellipse">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800" spc="300" dirty="0">
                <a:solidFill>
                  <a:schemeClr val="bg1"/>
                </a:solidFill>
                <a:latin typeface="+mj-lt"/>
                <a:ea typeface="+mj-ea"/>
                <a:cs typeface="+mj-cs"/>
              </a:rPr>
              <a:t>FAILURE</a:t>
            </a:r>
            <a:endParaRPr lang="ko-KR" altLang="en-US" sz="2800" spc="300" dirty="0">
              <a:solidFill>
                <a:schemeClr val="bg1"/>
              </a:solidFill>
              <a:latin typeface="+mj-lt"/>
              <a:ea typeface="+mj-ea"/>
              <a:cs typeface="+mj-cs"/>
            </a:endParaRPr>
          </a:p>
        </p:txBody>
      </p:sp>
    </p:spTree>
    <p:extLst>
      <p:ext uri="{BB962C8B-B14F-4D97-AF65-F5344CB8AC3E}">
        <p14:creationId xmlns:p14="http://schemas.microsoft.com/office/powerpoint/2010/main" val="1565993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500"/>
                                        <p:tgtEl>
                                          <p:spTgt spid="6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60" grpId="0"/>
      <p:bldP spid="62" grpId="0"/>
      <p:bldP spid="63" grpId="0"/>
      <p:bldP spid="64" grpId="0"/>
      <p:bldP spid="65" grpId="0"/>
      <p:bldP spid="66" grpId="0"/>
      <p:bldP spid="44"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4298"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27341"/>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lumMod val="0"/>
                    <a:lumOff val="100000"/>
                  </a:srgbClr>
                </a:gs>
                <a:gs pos="100000">
                  <a:srgbClr val="3E8E86">
                    <a:alpha val="60000"/>
                    <a:lumMod val="0"/>
                    <a:lumOff val="100000"/>
                  </a:srgbClr>
                </a:gs>
                <a:gs pos="55000">
                  <a:srgbClr val="2B2D78">
                    <a:alpha val="60000"/>
                    <a:lumMod val="0"/>
                    <a:lumOff val="10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251" name="Picture 3">
            <a:extLst>
              <a:ext uri="{FF2B5EF4-FFF2-40B4-BE49-F238E27FC236}">
                <a16:creationId xmlns:a16="http://schemas.microsoft.com/office/drawing/2014/main" id="{D8816BFA-21D5-5749-94A9-75FCBC688E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3785" y="295012"/>
            <a:ext cx="449792" cy="8164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C91C676-1A09-3840-8782-19FAAF1E8A21}"/>
              </a:ext>
            </a:extLst>
          </p:cNvPr>
          <p:cNvGrpSpPr/>
          <p:nvPr/>
        </p:nvGrpSpPr>
        <p:grpSpPr>
          <a:xfrm>
            <a:off x="4713542" y="429779"/>
            <a:ext cx="2764916" cy="523220"/>
            <a:chOff x="4643042" y="788187"/>
            <a:chExt cx="2764916" cy="523220"/>
          </a:xfrm>
        </p:grpSpPr>
        <p:sp>
          <p:nvSpPr>
            <p:cNvPr id="2" name="TextBox 1">
              <a:extLst>
                <a:ext uri="{FF2B5EF4-FFF2-40B4-BE49-F238E27FC236}">
                  <a16:creationId xmlns:a16="http://schemas.microsoft.com/office/drawing/2014/main" id="{8F393196-8381-6F4F-A52D-46371AC56431}"/>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15%</a:t>
              </a:r>
            </a:p>
          </p:txBody>
        </p:sp>
        <p:sp>
          <p:nvSpPr>
            <p:cNvPr id="18" name="TextBox 17">
              <a:extLst>
                <a:ext uri="{FF2B5EF4-FFF2-40B4-BE49-F238E27FC236}">
                  <a16:creationId xmlns:a16="http://schemas.microsoft.com/office/drawing/2014/main" id="{A803D08E-A871-6345-8CDA-C60893857B8A}"/>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10%</a:t>
              </a:r>
            </a:p>
          </p:txBody>
        </p:sp>
      </p:grpSp>
      <p:pic>
        <p:nvPicPr>
          <p:cNvPr id="183300" name="Picture 4" descr="Amazon logo PNG">
            <a:extLst>
              <a:ext uri="{FF2B5EF4-FFF2-40B4-BE49-F238E27FC236}">
                <a16:creationId xmlns:a16="http://schemas.microsoft.com/office/drawing/2014/main" id="{3F290175-8B9D-6A45-9BCC-DCDC55D2E4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3785" y="1414002"/>
            <a:ext cx="1848832" cy="558261"/>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42A7A44-E231-9842-BAAE-63302C656209}"/>
              </a:ext>
            </a:extLst>
          </p:cNvPr>
          <p:cNvGrpSpPr/>
          <p:nvPr/>
        </p:nvGrpSpPr>
        <p:grpSpPr>
          <a:xfrm>
            <a:off x="4713542" y="1330402"/>
            <a:ext cx="2764916" cy="523220"/>
            <a:chOff x="4643042" y="788187"/>
            <a:chExt cx="2764916" cy="523220"/>
          </a:xfrm>
        </p:grpSpPr>
        <p:sp>
          <p:nvSpPr>
            <p:cNvPr id="22" name="TextBox 21">
              <a:extLst>
                <a:ext uri="{FF2B5EF4-FFF2-40B4-BE49-F238E27FC236}">
                  <a16:creationId xmlns:a16="http://schemas.microsoft.com/office/drawing/2014/main" id="{9A1AB9BF-57F8-764D-AA7C-64B79538EBFC}"/>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65%</a:t>
              </a:r>
            </a:p>
          </p:txBody>
        </p:sp>
        <p:sp>
          <p:nvSpPr>
            <p:cNvPr id="23" name="TextBox 22">
              <a:extLst>
                <a:ext uri="{FF2B5EF4-FFF2-40B4-BE49-F238E27FC236}">
                  <a16:creationId xmlns:a16="http://schemas.microsoft.com/office/drawing/2014/main" id="{054A8D44-6006-A949-9ED4-056275035A0C}"/>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30%</a:t>
              </a:r>
            </a:p>
          </p:txBody>
        </p:sp>
      </p:grpSp>
      <p:sp>
        <p:nvSpPr>
          <p:cNvPr id="24" name="Rectangle 23">
            <a:extLst>
              <a:ext uri="{FF2B5EF4-FFF2-40B4-BE49-F238E27FC236}">
                <a16:creationId xmlns:a16="http://schemas.microsoft.com/office/drawing/2014/main" id="{0FD3E3A7-F0D0-0B47-8992-17EB300AA37D}"/>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7515" name="Picture 123" descr="Spotify — Logo and Brand Assets">
            <a:extLst>
              <a:ext uri="{FF2B5EF4-FFF2-40B4-BE49-F238E27FC236}">
                <a16:creationId xmlns:a16="http://schemas.microsoft.com/office/drawing/2014/main" id="{9305922C-723B-FB4A-9813-43E3CCB3FB51}"/>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27000"/>
                    </a14:imgEffect>
                  </a14:imgLayer>
                </a14:imgProps>
              </a:ext>
              <a:ext uri="{28A0092B-C50C-407E-A947-70E740481C1C}">
                <a14:useLocalDpi xmlns:a14="http://schemas.microsoft.com/office/drawing/2010/main" val="0"/>
              </a:ext>
            </a:extLst>
          </a:blip>
          <a:srcRect/>
          <a:stretch>
            <a:fillRect/>
          </a:stretch>
        </p:blipFill>
        <p:spPr bwMode="auto">
          <a:xfrm>
            <a:off x="2716673" y="5051980"/>
            <a:ext cx="1890764" cy="567475"/>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A7EDAFBE-C298-044B-A803-BF917D149457}"/>
              </a:ext>
            </a:extLst>
          </p:cNvPr>
          <p:cNvGrpSpPr/>
          <p:nvPr/>
        </p:nvGrpSpPr>
        <p:grpSpPr>
          <a:xfrm>
            <a:off x="4713542" y="5096235"/>
            <a:ext cx="2764916" cy="523220"/>
            <a:chOff x="4643042" y="788187"/>
            <a:chExt cx="2764916" cy="523220"/>
          </a:xfrm>
        </p:grpSpPr>
        <p:sp>
          <p:nvSpPr>
            <p:cNvPr id="28" name="TextBox 27">
              <a:extLst>
                <a:ext uri="{FF2B5EF4-FFF2-40B4-BE49-F238E27FC236}">
                  <a16:creationId xmlns:a16="http://schemas.microsoft.com/office/drawing/2014/main" id="{4DF93242-F794-6549-9D3E-18D3A495700F}"/>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44%</a:t>
              </a:r>
            </a:p>
          </p:txBody>
        </p:sp>
        <p:sp>
          <p:nvSpPr>
            <p:cNvPr id="30" name="TextBox 29">
              <a:extLst>
                <a:ext uri="{FF2B5EF4-FFF2-40B4-BE49-F238E27FC236}">
                  <a16:creationId xmlns:a16="http://schemas.microsoft.com/office/drawing/2014/main" id="{9FBC585A-57A4-A442-BD14-39ED9BD08097}"/>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56%</a:t>
              </a:r>
            </a:p>
          </p:txBody>
        </p:sp>
      </p:grpSp>
      <p:pic>
        <p:nvPicPr>
          <p:cNvPr id="10" name="Graphic 9">
            <a:extLst>
              <a:ext uri="{FF2B5EF4-FFF2-40B4-BE49-F238E27FC236}">
                <a16:creationId xmlns:a16="http://schemas.microsoft.com/office/drawing/2014/main" id="{DAF68A2E-C679-0147-B163-2237D1EEABB7}"/>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8710" t="29391" r="11759" b="32491"/>
          <a:stretch/>
        </p:blipFill>
        <p:spPr>
          <a:xfrm>
            <a:off x="5125484" y="3117196"/>
            <a:ext cx="1935628" cy="618467"/>
          </a:xfrm>
          <a:prstGeom prst="rect">
            <a:avLst/>
          </a:prstGeom>
        </p:spPr>
      </p:pic>
    </p:spTree>
    <p:extLst>
      <p:ext uri="{BB962C8B-B14F-4D97-AF65-F5344CB8AC3E}">
        <p14:creationId xmlns:p14="http://schemas.microsoft.com/office/powerpoint/2010/main" val="410112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736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27341"/>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lumMod val="0"/>
                    <a:lumOff val="100000"/>
                  </a:srgbClr>
                </a:gs>
                <a:gs pos="100000">
                  <a:srgbClr val="3E8E86">
                    <a:alpha val="60000"/>
                    <a:lumMod val="0"/>
                    <a:lumOff val="100000"/>
                  </a:srgbClr>
                </a:gs>
                <a:gs pos="55000">
                  <a:srgbClr val="2B2D78">
                    <a:alpha val="60000"/>
                    <a:lumMod val="0"/>
                    <a:lumOff val="10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251" name="Picture 3">
            <a:extLst>
              <a:ext uri="{FF2B5EF4-FFF2-40B4-BE49-F238E27FC236}">
                <a16:creationId xmlns:a16="http://schemas.microsoft.com/office/drawing/2014/main" id="{D8816BFA-21D5-5749-94A9-75FCBC688E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3785" y="295012"/>
            <a:ext cx="449792" cy="8164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C91C676-1A09-3840-8782-19FAAF1E8A21}"/>
              </a:ext>
            </a:extLst>
          </p:cNvPr>
          <p:cNvGrpSpPr/>
          <p:nvPr/>
        </p:nvGrpSpPr>
        <p:grpSpPr>
          <a:xfrm>
            <a:off x="4713542" y="429779"/>
            <a:ext cx="2764916" cy="523220"/>
            <a:chOff x="4643042" y="788187"/>
            <a:chExt cx="2764916" cy="523220"/>
          </a:xfrm>
        </p:grpSpPr>
        <p:sp>
          <p:nvSpPr>
            <p:cNvPr id="2" name="TextBox 1">
              <a:extLst>
                <a:ext uri="{FF2B5EF4-FFF2-40B4-BE49-F238E27FC236}">
                  <a16:creationId xmlns:a16="http://schemas.microsoft.com/office/drawing/2014/main" id="{8F393196-8381-6F4F-A52D-46371AC56431}"/>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15%</a:t>
              </a:r>
            </a:p>
          </p:txBody>
        </p:sp>
        <p:sp>
          <p:nvSpPr>
            <p:cNvPr id="18" name="TextBox 17">
              <a:extLst>
                <a:ext uri="{FF2B5EF4-FFF2-40B4-BE49-F238E27FC236}">
                  <a16:creationId xmlns:a16="http://schemas.microsoft.com/office/drawing/2014/main" id="{A803D08E-A871-6345-8CDA-C60893857B8A}"/>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10%</a:t>
              </a:r>
            </a:p>
          </p:txBody>
        </p:sp>
      </p:grpSp>
      <p:pic>
        <p:nvPicPr>
          <p:cNvPr id="183300" name="Picture 4" descr="Amazon logo PNG">
            <a:extLst>
              <a:ext uri="{FF2B5EF4-FFF2-40B4-BE49-F238E27FC236}">
                <a16:creationId xmlns:a16="http://schemas.microsoft.com/office/drawing/2014/main" id="{3F290175-8B9D-6A45-9BCC-DCDC55D2E4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3785" y="1414002"/>
            <a:ext cx="1848832" cy="558261"/>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42A7A44-E231-9842-BAAE-63302C656209}"/>
              </a:ext>
            </a:extLst>
          </p:cNvPr>
          <p:cNvGrpSpPr/>
          <p:nvPr/>
        </p:nvGrpSpPr>
        <p:grpSpPr>
          <a:xfrm>
            <a:off x="4713542" y="1330402"/>
            <a:ext cx="2764916" cy="523220"/>
            <a:chOff x="4643042" y="788187"/>
            <a:chExt cx="2764916" cy="523220"/>
          </a:xfrm>
        </p:grpSpPr>
        <p:sp>
          <p:nvSpPr>
            <p:cNvPr id="22" name="TextBox 21">
              <a:extLst>
                <a:ext uri="{FF2B5EF4-FFF2-40B4-BE49-F238E27FC236}">
                  <a16:creationId xmlns:a16="http://schemas.microsoft.com/office/drawing/2014/main" id="{9A1AB9BF-57F8-764D-AA7C-64B79538EBFC}"/>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65%</a:t>
              </a:r>
            </a:p>
          </p:txBody>
        </p:sp>
        <p:sp>
          <p:nvSpPr>
            <p:cNvPr id="23" name="TextBox 22">
              <a:extLst>
                <a:ext uri="{FF2B5EF4-FFF2-40B4-BE49-F238E27FC236}">
                  <a16:creationId xmlns:a16="http://schemas.microsoft.com/office/drawing/2014/main" id="{054A8D44-6006-A949-9ED4-056275035A0C}"/>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30%</a:t>
              </a:r>
            </a:p>
          </p:txBody>
        </p:sp>
      </p:grpSp>
      <p:sp>
        <p:nvSpPr>
          <p:cNvPr id="24" name="Rectangle 23">
            <a:extLst>
              <a:ext uri="{FF2B5EF4-FFF2-40B4-BE49-F238E27FC236}">
                <a16:creationId xmlns:a16="http://schemas.microsoft.com/office/drawing/2014/main" id="{0FD3E3A7-F0D0-0B47-8992-17EB300AA37D}"/>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7515" name="Picture 123" descr="Spotify — Logo and Brand Assets">
            <a:extLst>
              <a:ext uri="{FF2B5EF4-FFF2-40B4-BE49-F238E27FC236}">
                <a16:creationId xmlns:a16="http://schemas.microsoft.com/office/drawing/2014/main" id="{9305922C-723B-FB4A-9813-43E3CCB3FB51}"/>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27000"/>
                    </a14:imgEffect>
                  </a14:imgLayer>
                </a14:imgProps>
              </a:ext>
              <a:ext uri="{28A0092B-C50C-407E-A947-70E740481C1C}">
                <a14:useLocalDpi xmlns:a14="http://schemas.microsoft.com/office/drawing/2010/main" val="0"/>
              </a:ext>
            </a:extLst>
          </a:blip>
          <a:srcRect/>
          <a:stretch>
            <a:fillRect/>
          </a:stretch>
        </p:blipFill>
        <p:spPr bwMode="auto">
          <a:xfrm>
            <a:off x="2716673" y="5051980"/>
            <a:ext cx="1890764" cy="567475"/>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A7EDAFBE-C298-044B-A803-BF917D149457}"/>
              </a:ext>
            </a:extLst>
          </p:cNvPr>
          <p:cNvGrpSpPr/>
          <p:nvPr/>
        </p:nvGrpSpPr>
        <p:grpSpPr>
          <a:xfrm>
            <a:off x="4713542" y="5096235"/>
            <a:ext cx="2764916" cy="523220"/>
            <a:chOff x="4643042" y="788187"/>
            <a:chExt cx="2764916" cy="523220"/>
          </a:xfrm>
        </p:grpSpPr>
        <p:sp>
          <p:nvSpPr>
            <p:cNvPr id="28" name="TextBox 27">
              <a:extLst>
                <a:ext uri="{FF2B5EF4-FFF2-40B4-BE49-F238E27FC236}">
                  <a16:creationId xmlns:a16="http://schemas.microsoft.com/office/drawing/2014/main" id="{4DF93242-F794-6549-9D3E-18D3A495700F}"/>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44%</a:t>
              </a:r>
            </a:p>
          </p:txBody>
        </p:sp>
        <p:sp>
          <p:nvSpPr>
            <p:cNvPr id="30" name="TextBox 29">
              <a:extLst>
                <a:ext uri="{FF2B5EF4-FFF2-40B4-BE49-F238E27FC236}">
                  <a16:creationId xmlns:a16="http://schemas.microsoft.com/office/drawing/2014/main" id="{9FBC585A-57A4-A442-BD14-39ED9BD08097}"/>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56%</a:t>
              </a:r>
            </a:p>
          </p:txBody>
        </p:sp>
      </p:grpSp>
      <p:pic>
        <p:nvPicPr>
          <p:cNvPr id="10" name="Graphic 9">
            <a:extLst>
              <a:ext uri="{FF2B5EF4-FFF2-40B4-BE49-F238E27FC236}">
                <a16:creationId xmlns:a16="http://schemas.microsoft.com/office/drawing/2014/main" id="{DAF68A2E-C679-0147-B163-2237D1EEABB7}"/>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8710" t="29391" r="11759" b="32491"/>
          <a:stretch/>
        </p:blipFill>
        <p:spPr>
          <a:xfrm>
            <a:off x="2725190" y="5801990"/>
            <a:ext cx="1935628" cy="618467"/>
          </a:xfrm>
          <a:prstGeom prst="rect">
            <a:avLst/>
          </a:prstGeom>
        </p:spPr>
      </p:pic>
      <p:grpSp>
        <p:nvGrpSpPr>
          <p:cNvPr id="33" name="Group 32">
            <a:extLst>
              <a:ext uri="{FF2B5EF4-FFF2-40B4-BE49-F238E27FC236}">
                <a16:creationId xmlns:a16="http://schemas.microsoft.com/office/drawing/2014/main" id="{CAB30AD8-5375-474C-B15C-26BEA73169FA}"/>
              </a:ext>
            </a:extLst>
          </p:cNvPr>
          <p:cNvGrpSpPr/>
          <p:nvPr/>
        </p:nvGrpSpPr>
        <p:grpSpPr>
          <a:xfrm>
            <a:off x="4726363" y="5881766"/>
            <a:ext cx="2764916" cy="523220"/>
            <a:chOff x="4643042" y="788187"/>
            <a:chExt cx="2764916" cy="523220"/>
          </a:xfrm>
        </p:grpSpPr>
        <p:sp>
          <p:nvSpPr>
            <p:cNvPr id="35" name="TextBox 34">
              <a:extLst>
                <a:ext uri="{FF2B5EF4-FFF2-40B4-BE49-F238E27FC236}">
                  <a16:creationId xmlns:a16="http://schemas.microsoft.com/office/drawing/2014/main" id="{DCF29541-410A-3841-B4ED-777E6DC85A77}"/>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40%</a:t>
              </a:r>
            </a:p>
          </p:txBody>
        </p:sp>
        <p:sp>
          <p:nvSpPr>
            <p:cNvPr id="36" name="TextBox 35">
              <a:extLst>
                <a:ext uri="{FF2B5EF4-FFF2-40B4-BE49-F238E27FC236}">
                  <a16:creationId xmlns:a16="http://schemas.microsoft.com/office/drawing/2014/main" id="{0825BAC3-1D05-D242-B5EF-040EAA198E01}"/>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57%</a:t>
              </a:r>
            </a:p>
          </p:txBody>
        </p:sp>
      </p:grpSp>
    </p:spTree>
    <p:extLst>
      <p:ext uri="{BB962C8B-B14F-4D97-AF65-F5344CB8AC3E}">
        <p14:creationId xmlns:p14="http://schemas.microsoft.com/office/powerpoint/2010/main" val="669367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48FF84-8C26-024F-8248-E46E5C6BDB1A}"/>
              </a:ext>
            </a:extLst>
          </p:cNvPr>
          <p:cNvGraphicFramePr>
            <a:graphicFrameLocks noChangeAspect="1"/>
          </p:cNvGraphicFramePr>
          <p:nvPr>
            <p:custDataLst>
              <p:tags r:id="rId2"/>
            </p:custDataLst>
            <p:extLst>
              <p:ext uri="{D42A27DB-BD31-4B8C-83A1-F6EECF244321}">
                <p14:modId xmlns:p14="http://schemas.microsoft.com/office/powerpoint/2010/main" val="29764096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5349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848FF84-8C26-024F-8248-E46E5C6BDB1A}"/>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제목 8">
            <a:extLst>
              <a:ext uri="{FF2B5EF4-FFF2-40B4-BE49-F238E27FC236}">
                <a16:creationId xmlns:a16="http://schemas.microsoft.com/office/drawing/2014/main" id="{9306337C-C8EA-4FE2-AEA6-332A2BF81BA9}"/>
              </a:ext>
            </a:extLst>
          </p:cNvPr>
          <p:cNvSpPr>
            <a:spLocks noGrp="1"/>
          </p:cNvSpPr>
          <p:nvPr>
            <p:ph type="title"/>
          </p:nvPr>
        </p:nvSpPr>
        <p:spPr>
          <a:xfrm>
            <a:off x="9181224" y="1545495"/>
            <a:ext cx="3010776" cy="1794163"/>
          </a:xfrm>
        </p:spPr>
        <p:txBody>
          <a:bodyPr vert="horz"/>
          <a:lstStyle/>
          <a:p>
            <a:r>
              <a:rPr lang="en-US" altLang="ko" dirty="0"/>
              <a:t>MOBILE</a:t>
            </a:r>
            <a:br>
              <a:rPr lang="en-US" altLang="ko" dirty="0"/>
            </a:br>
            <a:r>
              <a:rPr lang="en-US" altLang="ko"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TRAFFIC</a:t>
            </a:r>
            <a:br>
              <a:rPr lang="en-US" altLang="ko"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br>
            <a:r>
              <a:rPr lang="en-US" altLang="ko"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graphicFrame>
        <p:nvGraphicFramePr>
          <p:cNvPr id="6" name="차트 5">
            <a:extLst>
              <a:ext uri="{FF2B5EF4-FFF2-40B4-BE49-F238E27FC236}">
                <a16:creationId xmlns:a16="http://schemas.microsoft.com/office/drawing/2014/main" id="{8C2B5D37-A438-43D8-B5DC-9E62C6F43249}"/>
              </a:ext>
            </a:extLst>
          </p:cNvPr>
          <p:cNvGraphicFramePr/>
          <p:nvPr>
            <p:extLst>
              <p:ext uri="{D42A27DB-BD31-4B8C-83A1-F6EECF244321}">
                <p14:modId xmlns:p14="http://schemas.microsoft.com/office/powerpoint/2010/main" val="845332376"/>
              </p:ext>
            </p:extLst>
          </p:nvPr>
        </p:nvGraphicFramePr>
        <p:xfrm>
          <a:off x="326571" y="402957"/>
          <a:ext cx="8854653" cy="6672019"/>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7788247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graphicEl>
                                              <a:chart seriesIdx="-3" categoryIdx="-3" bldStep="gridLegend"/>
                                            </p:graphicEl>
                                          </p:spTgt>
                                        </p:tgtEl>
                                        <p:attrNameLst>
                                          <p:attrName>style.visibility</p:attrName>
                                        </p:attrNameLst>
                                      </p:cBhvr>
                                      <p:to>
                                        <p:strVal val="visible"/>
                                      </p:to>
                                    </p:set>
                                    <p:animEffect transition="in" filter="fade">
                                      <p:cBhvr>
                                        <p:cTn id="7" dur="500"/>
                                        <p:tgtEl>
                                          <p:spTgt spid="6">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graphicEl>
                                              <a:chart seriesIdx="0" categoryIdx="-4" bldStep="series"/>
                                            </p:graphicEl>
                                          </p:spTgt>
                                        </p:tgtEl>
                                        <p:attrNameLst>
                                          <p:attrName>style.visibility</p:attrName>
                                        </p:attrNameLst>
                                      </p:cBhvr>
                                      <p:to>
                                        <p:strVal val="visible"/>
                                      </p:to>
                                    </p:set>
                                    <p:animEffect transition="in" filter="fade">
                                      <p:cBhvr>
                                        <p:cTn id="12" dur="500"/>
                                        <p:tgtEl>
                                          <p:spTgt spid="6">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graphicEl>
                                              <a:chart seriesIdx="1" categoryIdx="-4" bldStep="series"/>
                                            </p:graphicEl>
                                          </p:spTgt>
                                        </p:tgtEl>
                                        <p:attrNameLst>
                                          <p:attrName>style.visibility</p:attrName>
                                        </p:attrNameLst>
                                      </p:cBhvr>
                                      <p:to>
                                        <p:strVal val="visible"/>
                                      </p:to>
                                    </p:set>
                                    <p:animEffect transition="in" filter="fade">
                                      <p:cBhvr>
                                        <p:cTn id="17" dur="500"/>
                                        <p:tgtEl>
                                          <p:spTgt spid="6">
                                            <p:graphicEl>
                                              <a:chart seriesIdx="1" categoryIdx="-4" bldStep="series"/>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6">
                                            <p:graphicEl>
                                              <a:chart seriesIdx="2" categoryIdx="-4" bldStep="series"/>
                                            </p:graphicEl>
                                          </p:spTgt>
                                        </p:tgtEl>
                                        <p:attrNameLst>
                                          <p:attrName>style.visibility</p:attrName>
                                        </p:attrNameLst>
                                      </p:cBhvr>
                                      <p:to>
                                        <p:strVal val="visible"/>
                                      </p:to>
                                    </p:set>
                                    <p:animEffect transition="in" filter="fade">
                                      <p:cBhvr>
                                        <p:cTn id="22" dur="500"/>
                                        <p:tgtEl>
                                          <p:spTgt spid="6">
                                            <p:graphicEl>
                                              <a:chart seriesIdx="2" categoryIdx="-4" bldStep="series"/>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graphicEl>
                                              <a:chart seriesIdx="3" categoryIdx="-4" bldStep="series"/>
                                            </p:graphicEl>
                                          </p:spTgt>
                                        </p:tgtEl>
                                        <p:attrNameLst>
                                          <p:attrName>style.visibility</p:attrName>
                                        </p:attrNameLst>
                                      </p:cBhvr>
                                      <p:to>
                                        <p:strVal val="visible"/>
                                      </p:to>
                                    </p:set>
                                    <p:animEffect transition="in" filter="fade">
                                      <p:cBhvr>
                                        <p:cTn id="27" dur="500"/>
                                        <p:tgtEl>
                                          <p:spTgt spid="6">
                                            <p:graphicEl>
                                              <a:chart seriesIdx="3"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Chart bld="series"/>
        </p:bldSub>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34363905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880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1" name="TextBox 10">
            <a:extLst>
              <a:ext uri="{FF2B5EF4-FFF2-40B4-BE49-F238E27FC236}">
                <a16:creationId xmlns:a16="http://schemas.microsoft.com/office/drawing/2014/main" id="{58047748-B6E6-9E47-9420-44BEE1A23DEC}"/>
              </a:ext>
            </a:extLst>
          </p:cNvPr>
          <p:cNvSpPr txBox="1"/>
          <p:nvPr/>
        </p:nvSpPr>
        <p:spPr>
          <a:xfrm>
            <a:off x="3467100" y="4353155"/>
            <a:ext cx="5854700" cy="369332"/>
          </a:xfrm>
          <a:prstGeom prst="rect">
            <a:avLst/>
          </a:prstGeom>
          <a:noFill/>
        </p:spPr>
        <p:txBody>
          <a:bodyPr wrap="square" rtlCol="0">
            <a:spAutoFit/>
          </a:bodyPr>
          <a:lstStyle/>
          <a:p>
            <a:pPr algn="ctr"/>
            <a:r>
              <a:rPr lang="en-US" dirty="0">
                <a:solidFill>
                  <a:srgbClr val="FFFFFF"/>
                </a:solidFill>
              </a:rPr>
              <a:t>Avg. Price to Develop a first Mobile App</a:t>
            </a:r>
          </a:p>
        </p:txBody>
      </p:sp>
      <p:sp>
        <p:nvSpPr>
          <p:cNvPr id="6" name="TextBox 5"/>
          <p:cNvSpPr txBox="1"/>
          <p:nvPr/>
        </p:nvSpPr>
        <p:spPr>
          <a:xfrm>
            <a:off x="1643526" y="2783495"/>
            <a:ext cx="8904948" cy="1569660"/>
          </a:xfrm>
          <a:prstGeom prst="rect">
            <a:avLst/>
          </a:prstGeom>
          <a:noFill/>
        </p:spPr>
        <p:txBody>
          <a:bodyPr wrap="square" rtlCol="0">
            <a:spAutoFit/>
          </a:bodyPr>
          <a:lstStyle/>
          <a:p>
            <a:r>
              <a:rPr lang="en-US" altLang="ko-KR" sz="66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96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9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z="48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7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0" y="-1061109"/>
            <a:ext cx="12192000" cy="9258868"/>
          </a:xfrm>
          <a:prstGeom prst="rect">
            <a:avLst/>
          </a:prstGeom>
          <a:blipFill dpi="0" rotWithShape="1">
            <a:blip r:embed="rId7">
              <a:alphaModFix amt="77000"/>
            </a:blip>
            <a:srcRect/>
            <a:stretch>
              <a:fillRect/>
            </a:stretch>
          </a:blipFill>
          <a:ln>
            <a:solidFill>
              <a:schemeClr val="tx1">
                <a:lumMod val="75000"/>
                <a:lumOff val="25000"/>
              </a:schemeClr>
            </a:solidFill>
          </a:ln>
          <a:scene3d>
            <a:camera prst="orthographicFront"/>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567990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ppt_x"/>
                                          </p:val>
                                        </p:tav>
                                        <p:tav tm="100000">
                                          <p:val>
                                            <p:strVal val="#ppt_x"/>
                                          </p:val>
                                        </p:tav>
                                      </p:tavLst>
                                    </p:anim>
                                    <p:anim calcmode="lin" valueType="num">
                                      <p:cBhvr additive="base">
                                        <p:cTn id="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16517103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875"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1517246"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1220850"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EB8A345-ACB9-B841-8409-E454748F424D}"/>
              </a:ext>
            </a:extLst>
          </p:cNvPr>
          <p:cNvSpPr txBox="1"/>
          <p:nvPr/>
        </p:nvSpPr>
        <p:spPr>
          <a:xfrm>
            <a:off x="3594924" y="970889"/>
            <a:ext cx="2622954" cy="461665"/>
          </a:xfrm>
          <a:prstGeom prst="rect">
            <a:avLst/>
          </a:prstGeom>
          <a:noFill/>
        </p:spPr>
        <p:txBody>
          <a:bodyPr wrap="square" rtlCol="0">
            <a:spAutoFit/>
          </a:bodyPr>
          <a:lstStyle/>
          <a:p>
            <a:r>
              <a:rPr lang="en-US" altLang="ko-KR" sz="1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2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240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z="105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16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4" name="Straight Connector 3">
            <a:extLst>
              <a:ext uri="{FF2B5EF4-FFF2-40B4-BE49-F238E27FC236}">
                <a16:creationId xmlns:a16="http://schemas.microsoft.com/office/drawing/2014/main" id="{702201C7-8452-4A47-A02F-1F62601E2CCC}"/>
              </a:ext>
            </a:extLst>
          </p:cNvPr>
          <p:cNvCxnSpPr>
            <a:stCxn id="8" idx="3"/>
          </p:cNvCxnSpPr>
          <p:nvPr/>
        </p:nvCxnSpPr>
        <p:spPr>
          <a:xfrm>
            <a:off x="6217878" y="1201722"/>
            <a:ext cx="0" cy="4454556"/>
          </a:xfrm>
          <a:prstGeom prst="line">
            <a:avLst/>
          </a:prstGeom>
          <a:ln w="25400">
            <a:solidFill>
              <a:srgbClr val="44C79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FB8DDA-077A-EE4C-84E6-FD00F4A7CF2F}"/>
              </a:ext>
            </a:extLst>
          </p:cNvPr>
          <p:cNvSpPr txBox="1"/>
          <p:nvPr/>
        </p:nvSpPr>
        <p:spPr>
          <a:xfrm>
            <a:off x="7695596" y="3105834"/>
            <a:ext cx="2979158" cy="646331"/>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Problem?</a:t>
            </a:r>
            <a:endPar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2987610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1000" fill="hold"/>
                                        <p:tgtEl>
                                          <p:spTgt spid="4"/>
                                        </p:tgtEl>
                                        <p:attrNameLst>
                                          <p:attrName>ppt_w</p:attrName>
                                        </p:attrNameLst>
                                      </p:cBhvr>
                                      <p:tavLst>
                                        <p:tav tm="0">
                                          <p:val>
                                            <p:strVal val="#ppt_w*0.70"/>
                                          </p:val>
                                        </p:tav>
                                        <p:tav tm="100000">
                                          <p:val>
                                            <p:strVal val="#ppt_w"/>
                                          </p:val>
                                        </p:tav>
                                      </p:tavLst>
                                    </p:anim>
                                    <p:anim calcmode="lin" valueType="num">
                                      <p:cBhvr>
                                        <p:cTn id="8" dur="1000" fill="hold"/>
                                        <p:tgtEl>
                                          <p:spTgt spid="4"/>
                                        </p:tgtEl>
                                        <p:attrNameLst>
                                          <p:attrName>ppt_h</p:attrName>
                                        </p:attrNameLst>
                                      </p:cBhvr>
                                      <p:tavLst>
                                        <p:tav tm="0">
                                          <p:val>
                                            <p:strVal val="#ppt_h"/>
                                          </p:val>
                                        </p:tav>
                                        <p:tav tm="100000">
                                          <p:val>
                                            <p:strVal val="#ppt_h"/>
                                          </p:val>
                                        </p:tav>
                                      </p:tavLst>
                                    </p:anim>
                                    <p:animEffect transition="in" filter="fade">
                                      <p:cBhvr>
                                        <p:cTn id="9" dur="1000"/>
                                        <p:tgtEl>
                                          <p:spTgt spid="4"/>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8"/>
                                        </p:tgtEl>
                                        <p:attrNameLst>
                                          <p:attrName>style.visibility</p:attrName>
                                        </p:attrNameLst>
                                      </p:cBhvr>
                                      <p:to>
                                        <p:strVal val="visible"/>
                                      </p:to>
                                    </p:set>
                                    <p:animEffect transition="in" filter="fade">
                                      <p:cBhvr>
                                        <p:cTn id="13" dur="500"/>
                                        <p:tgtEl>
                                          <p:spTgt spid="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5119806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5654"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3359799"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3656195"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EB8A345-ACB9-B841-8409-E454748F424D}"/>
              </a:ext>
            </a:extLst>
          </p:cNvPr>
          <p:cNvSpPr txBox="1"/>
          <p:nvPr/>
        </p:nvSpPr>
        <p:spPr>
          <a:xfrm>
            <a:off x="-1282121" y="970889"/>
            <a:ext cx="2622954" cy="461665"/>
          </a:xfrm>
          <a:prstGeom prst="rect">
            <a:avLst/>
          </a:prstGeom>
          <a:noFill/>
        </p:spPr>
        <p:txBody>
          <a:bodyPr wrap="square" rtlCol="0">
            <a:spAutoFit/>
          </a:bodyPr>
          <a:lstStyle/>
          <a:p>
            <a:r>
              <a:rPr lang="en-US" altLang="ko-KR" sz="1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2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240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160,000</a:t>
            </a:r>
            <a:r>
              <a:rPr lang="en-US" altLang="ko-KR" sz="105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16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4" name="Straight Connector 3">
            <a:extLst>
              <a:ext uri="{FF2B5EF4-FFF2-40B4-BE49-F238E27FC236}">
                <a16:creationId xmlns:a16="http://schemas.microsoft.com/office/drawing/2014/main" id="{702201C7-8452-4A47-A02F-1F62601E2CCC}"/>
              </a:ext>
            </a:extLst>
          </p:cNvPr>
          <p:cNvCxnSpPr>
            <a:stCxn id="8" idx="3"/>
          </p:cNvCxnSpPr>
          <p:nvPr/>
        </p:nvCxnSpPr>
        <p:spPr>
          <a:xfrm>
            <a:off x="1340833" y="1201722"/>
            <a:ext cx="0" cy="4454556"/>
          </a:xfrm>
          <a:prstGeom prst="line">
            <a:avLst/>
          </a:prstGeom>
          <a:ln w="25400">
            <a:solidFill>
              <a:srgbClr val="44C79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FB8DDA-077A-EE4C-84E6-FD00F4A7CF2F}"/>
              </a:ext>
            </a:extLst>
          </p:cNvPr>
          <p:cNvSpPr txBox="1"/>
          <p:nvPr/>
        </p:nvSpPr>
        <p:spPr>
          <a:xfrm>
            <a:off x="7474140" y="324558"/>
            <a:ext cx="2979158" cy="646331"/>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Problem?</a:t>
            </a:r>
            <a:endPar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
        <p:nvSpPr>
          <p:cNvPr id="12" name="Rectangle 11">
            <a:extLst>
              <a:ext uri="{FF2B5EF4-FFF2-40B4-BE49-F238E27FC236}">
                <a16:creationId xmlns:a16="http://schemas.microsoft.com/office/drawing/2014/main" id="{F23875DD-E998-5C4B-8A4F-9F7E15C6FD8A}"/>
              </a:ext>
            </a:extLst>
          </p:cNvPr>
          <p:cNvSpPr/>
          <p:nvPr/>
        </p:nvSpPr>
        <p:spPr>
          <a:xfrm>
            <a:off x="4522867" y="2701745"/>
            <a:ext cx="6880225" cy="609600"/>
          </a:xfrm>
          <a:prstGeom prst="rect">
            <a:avLst/>
          </a:prstGeom>
          <a:gradFill>
            <a:gsLst>
              <a:gs pos="0">
                <a:srgbClr val="B34768">
                  <a:alpha val="40000"/>
                </a:srgbClr>
              </a:gs>
              <a:gs pos="100000">
                <a:srgbClr val="3E8E86">
                  <a:alpha val="65000"/>
                </a:srgbClr>
              </a:gs>
              <a:gs pos="51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6%</a:t>
            </a:r>
          </a:p>
        </p:txBody>
      </p:sp>
      <p:sp>
        <p:nvSpPr>
          <p:cNvPr id="2" name="TextBox 1">
            <a:extLst>
              <a:ext uri="{FF2B5EF4-FFF2-40B4-BE49-F238E27FC236}">
                <a16:creationId xmlns:a16="http://schemas.microsoft.com/office/drawing/2014/main" id="{B439D4C3-1871-B948-8B24-F7CEFEE93D37}"/>
              </a:ext>
            </a:extLst>
          </p:cNvPr>
          <p:cNvSpPr txBox="1"/>
          <p:nvPr/>
        </p:nvSpPr>
        <p:spPr>
          <a:xfrm>
            <a:off x="2138081" y="2821879"/>
            <a:ext cx="2262487" cy="461665"/>
          </a:xfrm>
          <a:prstGeom prst="rect">
            <a:avLst/>
          </a:prstGeom>
          <a:noFill/>
        </p:spPr>
        <p:txBody>
          <a:bodyPr wrap="square" rtlCol="0">
            <a:spAutoFit/>
          </a:bodyPr>
          <a:lstStyle/>
          <a:p>
            <a:pPr algn="r"/>
            <a:r>
              <a:rPr lang="en-US" sz="2400" dirty="0">
                <a:solidFill>
                  <a:schemeClr val="bg1"/>
                </a:solidFill>
              </a:rPr>
              <a:t>Business Model</a:t>
            </a:r>
          </a:p>
        </p:txBody>
      </p:sp>
      <p:sp>
        <p:nvSpPr>
          <p:cNvPr id="13" name="Rectangle 12">
            <a:extLst>
              <a:ext uri="{FF2B5EF4-FFF2-40B4-BE49-F238E27FC236}">
                <a16:creationId xmlns:a16="http://schemas.microsoft.com/office/drawing/2014/main" id="{519A952F-273F-DE42-8319-C88D3096700F}"/>
              </a:ext>
            </a:extLst>
          </p:cNvPr>
          <p:cNvSpPr/>
          <p:nvPr/>
        </p:nvSpPr>
        <p:spPr>
          <a:xfrm>
            <a:off x="4522868" y="3739928"/>
            <a:ext cx="6366303" cy="6096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4%</a:t>
            </a:r>
          </a:p>
        </p:txBody>
      </p:sp>
      <p:sp>
        <p:nvSpPr>
          <p:cNvPr id="18" name="TextBox 17">
            <a:extLst>
              <a:ext uri="{FF2B5EF4-FFF2-40B4-BE49-F238E27FC236}">
                <a16:creationId xmlns:a16="http://schemas.microsoft.com/office/drawing/2014/main" id="{0404C1B2-801E-5D49-B64B-F1969070AFC6}"/>
              </a:ext>
            </a:extLst>
          </p:cNvPr>
          <p:cNvSpPr txBox="1"/>
          <p:nvPr/>
        </p:nvSpPr>
        <p:spPr>
          <a:xfrm>
            <a:off x="2138081" y="3860062"/>
            <a:ext cx="2262487" cy="461665"/>
          </a:xfrm>
          <a:prstGeom prst="rect">
            <a:avLst/>
          </a:prstGeom>
          <a:noFill/>
        </p:spPr>
        <p:txBody>
          <a:bodyPr wrap="square" rtlCol="0">
            <a:spAutoFit/>
          </a:bodyPr>
          <a:lstStyle/>
          <a:p>
            <a:pPr algn="r"/>
            <a:r>
              <a:rPr lang="en-US" sz="2400" dirty="0">
                <a:solidFill>
                  <a:schemeClr val="bg1"/>
                </a:solidFill>
              </a:rPr>
              <a:t>Ran out of Cash</a:t>
            </a:r>
          </a:p>
        </p:txBody>
      </p:sp>
      <p:sp>
        <p:nvSpPr>
          <p:cNvPr id="17" name="Rectangle 16">
            <a:extLst>
              <a:ext uri="{FF2B5EF4-FFF2-40B4-BE49-F238E27FC236}">
                <a16:creationId xmlns:a16="http://schemas.microsoft.com/office/drawing/2014/main" id="{A0C2AEE2-714E-F340-A42D-BE40D2F1A858}"/>
              </a:ext>
            </a:extLst>
          </p:cNvPr>
          <p:cNvSpPr/>
          <p:nvPr/>
        </p:nvSpPr>
        <p:spPr>
          <a:xfrm>
            <a:off x="4522868" y="4713579"/>
            <a:ext cx="4774707" cy="609600"/>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18%</a:t>
            </a:r>
          </a:p>
        </p:txBody>
      </p:sp>
      <p:sp>
        <p:nvSpPr>
          <p:cNvPr id="19" name="TextBox 18">
            <a:extLst>
              <a:ext uri="{FF2B5EF4-FFF2-40B4-BE49-F238E27FC236}">
                <a16:creationId xmlns:a16="http://schemas.microsoft.com/office/drawing/2014/main" id="{ED13A58F-7EBC-2048-836B-9234D3573F3C}"/>
              </a:ext>
            </a:extLst>
          </p:cNvPr>
          <p:cNvSpPr txBox="1"/>
          <p:nvPr/>
        </p:nvSpPr>
        <p:spPr>
          <a:xfrm>
            <a:off x="2138081" y="4833713"/>
            <a:ext cx="2262487" cy="461665"/>
          </a:xfrm>
          <a:prstGeom prst="rect">
            <a:avLst/>
          </a:prstGeom>
          <a:noFill/>
        </p:spPr>
        <p:txBody>
          <a:bodyPr wrap="square" rtlCol="0">
            <a:spAutoFit/>
          </a:bodyPr>
          <a:lstStyle/>
          <a:p>
            <a:pPr algn="r"/>
            <a:r>
              <a:rPr lang="en-US" sz="2400" dirty="0">
                <a:solidFill>
                  <a:schemeClr val="bg1"/>
                </a:solidFill>
              </a:rPr>
              <a:t>Low Traction</a:t>
            </a:r>
          </a:p>
        </p:txBody>
      </p:sp>
    </p:spTree>
    <p:extLst>
      <p:ext uri="{BB962C8B-B14F-4D97-AF65-F5344CB8AC3E}">
        <p14:creationId xmlns:p14="http://schemas.microsoft.com/office/powerpoint/2010/main" val="14275682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413082497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1789"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3359799"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3656195"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EB8A345-ACB9-B841-8409-E454748F424D}"/>
              </a:ext>
            </a:extLst>
          </p:cNvPr>
          <p:cNvSpPr txBox="1"/>
          <p:nvPr/>
        </p:nvSpPr>
        <p:spPr>
          <a:xfrm>
            <a:off x="-1282121" y="970889"/>
            <a:ext cx="2622954" cy="461665"/>
          </a:xfrm>
          <a:prstGeom prst="rect">
            <a:avLst/>
          </a:prstGeom>
          <a:noFill/>
        </p:spPr>
        <p:txBody>
          <a:bodyPr wrap="square" rtlCol="0">
            <a:spAutoFit/>
          </a:bodyPr>
          <a:lstStyle/>
          <a:p>
            <a:r>
              <a:rPr lang="en-US" altLang="ko-KR" sz="1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2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240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160,000</a:t>
            </a:r>
            <a:r>
              <a:rPr lang="en-US" altLang="ko-KR" sz="105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16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4" name="Straight Connector 3">
            <a:extLst>
              <a:ext uri="{FF2B5EF4-FFF2-40B4-BE49-F238E27FC236}">
                <a16:creationId xmlns:a16="http://schemas.microsoft.com/office/drawing/2014/main" id="{702201C7-8452-4A47-A02F-1F62601E2CCC}"/>
              </a:ext>
            </a:extLst>
          </p:cNvPr>
          <p:cNvCxnSpPr>
            <a:stCxn id="8" idx="3"/>
          </p:cNvCxnSpPr>
          <p:nvPr/>
        </p:nvCxnSpPr>
        <p:spPr>
          <a:xfrm>
            <a:off x="1340833" y="1201722"/>
            <a:ext cx="0" cy="4454556"/>
          </a:xfrm>
          <a:prstGeom prst="line">
            <a:avLst/>
          </a:prstGeom>
          <a:ln w="25400">
            <a:solidFill>
              <a:srgbClr val="44C79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FB8DDA-077A-EE4C-84E6-FD00F4A7CF2F}"/>
              </a:ext>
            </a:extLst>
          </p:cNvPr>
          <p:cNvSpPr txBox="1"/>
          <p:nvPr/>
        </p:nvSpPr>
        <p:spPr>
          <a:xfrm>
            <a:off x="7474140" y="324558"/>
            <a:ext cx="2979158" cy="646331"/>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Problem?</a:t>
            </a:r>
            <a:endPar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
        <p:nvSpPr>
          <p:cNvPr id="12" name="Rectangle 11">
            <a:extLst>
              <a:ext uri="{FF2B5EF4-FFF2-40B4-BE49-F238E27FC236}">
                <a16:creationId xmlns:a16="http://schemas.microsoft.com/office/drawing/2014/main" id="{F23875DD-E998-5C4B-8A4F-9F7E15C6FD8A}"/>
              </a:ext>
            </a:extLst>
          </p:cNvPr>
          <p:cNvSpPr/>
          <p:nvPr/>
        </p:nvSpPr>
        <p:spPr>
          <a:xfrm>
            <a:off x="4522867" y="3707662"/>
            <a:ext cx="6880225" cy="609600"/>
          </a:xfrm>
          <a:prstGeom prst="rect">
            <a:avLst/>
          </a:prstGeom>
          <a:gradFill>
            <a:gsLst>
              <a:gs pos="0">
                <a:srgbClr val="B34768">
                  <a:alpha val="40000"/>
                </a:srgbClr>
              </a:gs>
              <a:gs pos="100000">
                <a:srgbClr val="3E8E86">
                  <a:alpha val="65000"/>
                </a:srgbClr>
              </a:gs>
              <a:gs pos="51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6%</a:t>
            </a:r>
          </a:p>
        </p:txBody>
      </p:sp>
      <p:sp>
        <p:nvSpPr>
          <p:cNvPr id="2" name="TextBox 1">
            <a:extLst>
              <a:ext uri="{FF2B5EF4-FFF2-40B4-BE49-F238E27FC236}">
                <a16:creationId xmlns:a16="http://schemas.microsoft.com/office/drawing/2014/main" id="{B439D4C3-1871-B948-8B24-F7CEFEE93D37}"/>
              </a:ext>
            </a:extLst>
          </p:cNvPr>
          <p:cNvSpPr txBox="1"/>
          <p:nvPr/>
        </p:nvSpPr>
        <p:spPr>
          <a:xfrm>
            <a:off x="2138081" y="3827796"/>
            <a:ext cx="2262487" cy="461665"/>
          </a:xfrm>
          <a:prstGeom prst="rect">
            <a:avLst/>
          </a:prstGeom>
          <a:noFill/>
        </p:spPr>
        <p:txBody>
          <a:bodyPr wrap="square" rtlCol="0">
            <a:spAutoFit/>
          </a:bodyPr>
          <a:lstStyle/>
          <a:p>
            <a:pPr algn="r"/>
            <a:r>
              <a:rPr lang="en-US" sz="2400" dirty="0">
                <a:solidFill>
                  <a:schemeClr val="bg1"/>
                </a:solidFill>
              </a:rPr>
              <a:t>Business Model</a:t>
            </a:r>
          </a:p>
        </p:txBody>
      </p:sp>
      <p:sp>
        <p:nvSpPr>
          <p:cNvPr id="13" name="Rectangle 12">
            <a:extLst>
              <a:ext uri="{FF2B5EF4-FFF2-40B4-BE49-F238E27FC236}">
                <a16:creationId xmlns:a16="http://schemas.microsoft.com/office/drawing/2014/main" id="{519A952F-273F-DE42-8319-C88D3096700F}"/>
              </a:ext>
            </a:extLst>
          </p:cNvPr>
          <p:cNvSpPr/>
          <p:nvPr/>
        </p:nvSpPr>
        <p:spPr>
          <a:xfrm>
            <a:off x="4522868" y="2701745"/>
            <a:ext cx="7412144" cy="6096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4%</a:t>
            </a:r>
          </a:p>
        </p:txBody>
      </p:sp>
      <p:sp>
        <p:nvSpPr>
          <p:cNvPr id="18" name="TextBox 17">
            <a:extLst>
              <a:ext uri="{FF2B5EF4-FFF2-40B4-BE49-F238E27FC236}">
                <a16:creationId xmlns:a16="http://schemas.microsoft.com/office/drawing/2014/main" id="{0404C1B2-801E-5D49-B64B-F1969070AFC6}"/>
              </a:ext>
            </a:extLst>
          </p:cNvPr>
          <p:cNvSpPr txBox="1"/>
          <p:nvPr/>
        </p:nvSpPr>
        <p:spPr>
          <a:xfrm>
            <a:off x="2138081" y="2821879"/>
            <a:ext cx="2262487" cy="461665"/>
          </a:xfrm>
          <a:prstGeom prst="rect">
            <a:avLst/>
          </a:prstGeom>
          <a:noFill/>
        </p:spPr>
        <p:txBody>
          <a:bodyPr wrap="square" rtlCol="0">
            <a:spAutoFit/>
          </a:bodyPr>
          <a:lstStyle/>
          <a:p>
            <a:pPr algn="r"/>
            <a:r>
              <a:rPr lang="en-US" sz="2400" dirty="0">
                <a:solidFill>
                  <a:schemeClr val="bg1"/>
                </a:solidFill>
              </a:rPr>
              <a:t>Ran out of Cash</a:t>
            </a:r>
          </a:p>
        </p:txBody>
      </p:sp>
      <p:sp>
        <p:nvSpPr>
          <p:cNvPr id="17" name="Rectangle 16">
            <a:extLst>
              <a:ext uri="{FF2B5EF4-FFF2-40B4-BE49-F238E27FC236}">
                <a16:creationId xmlns:a16="http://schemas.microsoft.com/office/drawing/2014/main" id="{A0C2AEE2-714E-F340-A42D-BE40D2F1A858}"/>
              </a:ext>
            </a:extLst>
          </p:cNvPr>
          <p:cNvSpPr/>
          <p:nvPr/>
        </p:nvSpPr>
        <p:spPr>
          <a:xfrm>
            <a:off x="4522868" y="4713579"/>
            <a:ext cx="4774707" cy="609600"/>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18%</a:t>
            </a:r>
          </a:p>
        </p:txBody>
      </p:sp>
      <p:sp>
        <p:nvSpPr>
          <p:cNvPr id="19" name="TextBox 18">
            <a:extLst>
              <a:ext uri="{FF2B5EF4-FFF2-40B4-BE49-F238E27FC236}">
                <a16:creationId xmlns:a16="http://schemas.microsoft.com/office/drawing/2014/main" id="{ED13A58F-7EBC-2048-836B-9234D3573F3C}"/>
              </a:ext>
            </a:extLst>
          </p:cNvPr>
          <p:cNvSpPr txBox="1"/>
          <p:nvPr/>
        </p:nvSpPr>
        <p:spPr>
          <a:xfrm>
            <a:off x="2138081" y="4833713"/>
            <a:ext cx="2262487" cy="461665"/>
          </a:xfrm>
          <a:prstGeom prst="rect">
            <a:avLst/>
          </a:prstGeom>
          <a:noFill/>
        </p:spPr>
        <p:txBody>
          <a:bodyPr wrap="square" rtlCol="0">
            <a:spAutoFit/>
          </a:bodyPr>
          <a:lstStyle/>
          <a:p>
            <a:pPr algn="r"/>
            <a:r>
              <a:rPr lang="en-US" sz="2400" dirty="0">
                <a:solidFill>
                  <a:schemeClr val="bg1"/>
                </a:solidFill>
              </a:rPr>
              <a:t>Low Traction</a:t>
            </a:r>
          </a:p>
        </p:txBody>
      </p:sp>
    </p:spTree>
    <p:extLst>
      <p:ext uri="{BB962C8B-B14F-4D97-AF65-F5344CB8AC3E}">
        <p14:creationId xmlns:p14="http://schemas.microsoft.com/office/powerpoint/2010/main" val="27063154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advClick="0" advTm="500">
        <p159:morph option="byObject"/>
      </p:transition>
    </mc:Choice>
    <mc:Fallback xmlns="">
      <p:transition spd="slow" advClick="0" advTm="5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36483602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93835"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3359799"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3656195"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EB8A345-ACB9-B841-8409-E454748F424D}"/>
              </a:ext>
            </a:extLst>
          </p:cNvPr>
          <p:cNvSpPr txBox="1"/>
          <p:nvPr/>
        </p:nvSpPr>
        <p:spPr>
          <a:xfrm>
            <a:off x="-1282121" y="970889"/>
            <a:ext cx="2622954" cy="461665"/>
          </a:xfrm>
          <a:prstGeom prst="rect">
            <a:avLst/>
          </a:prstGeom>
          <a:noFill/>
        </p:spPr>
        <p:txBody>
          <a:bodyPr wrap="square" rtlCol="0">
            <a:spAutoFit/>
          </a:bodyPr>
          <a:lstStyle/>
          <a:p>
            <a:r>
              <a:rPr lang="en-US" altLang="ko-KR" sz="1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2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240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160,000</a:t>
            </a:r>
            <a:r>
              <a:rPr lang="en-US" altLang="ko-KR" sz="105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16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4" name="Straight Connector 3">
            <a:extLst>
              <a:ext uri="{FF2B5EF4-FFF2-40B4-BE49-F238E27FC236}">
                <a16:creationId xmlns:a16="http://schemas.microsoft.com/office/drawing/2014/main" id="{702201C7-8452-4A47-A02F-1F62601E2CCC}"/>
              </a:ext>
            </a:extLst>
          </p:cNvPr>
          <p:cNvCxnSpPr>
            <a:stCxn id="8" idx="3"/>
          </p:cNvCxnSpPr>
          <p:nvPr/>
        </p:nvCxnSpPr>
        <p:spPr>
          <a:xfrm>
            <a:off x="1340833" y="1201722"/>
            <a:ext cx="0" cy="4454556"/>
          </a:xfrm>
          <a:prstGeom prst="line">
            <a:avLst/>
          </a:prstGeom>
          <a:ln w="25400">
            <a:solidFill>
              <a:srgbClr val="44C79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FB8DDA-077A-EE4C-84E6-FD00F4A7CF2F}"/>
              </a:ext>
            </a:extLst>
          </p:cNvPr>
          <p:cNvSpPr txBox="1"/>
          <p:nvPr/>
        </p:nvSpPr>
        <p:spPr>
          <a:xfrm>
            <a:off x="7474140" y="324558"/>
            <a:ext cx="2979158" cy="646331"/>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Problem?</a:t>
            </a:r>
            <a:endPar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
        <p:nvSpPr>
          <p:cNvPr id="12" name="Rectangle 11">
            <a:extLst>
              <a:ext uri="{FF2B5EF4-FFF2-40B4-BE49-F238E27FC236}">
                <a16:creationId xmlns:a16="http://schemas.microsoft.com/office/drawing/2014/main" id="{F23875DD-E998-5C4B-8A4F-9F7E15C6FD8A}"/>
              </a:ext>
            </a:extLst>
          </p:cNvPr>
          <p:cNvSpPr/>
          <p:nvPr/>
        </p:nvSpPr>
        <p:spPr>
          <a:xfrm>
            <a:off x="4522867" y="3707662"/>
            <a:ext cx="6880225" cy="609600"/>
          </a:xfrm>
          <a:prstGeom prst="rect">
            <a:avLst/>
          </a:prstGeom>
          <a:gradFill>
            <a:gsLst>
              <a:gs pos="0">
                <a:srgbClr val="B34768">
                  <a:alpha val="40000"/>
                </a:srgbClr>
              </a:gs>
              <a:gs pos="100000">
                <a:srgbClr val="3E8E86">
                  <a:alpha val="65000"/>
                </a:srgbClr>
              </a:gs>
              <a:gs pos="51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6%</a:t>
            </a:r>
          </a:p>
        </p:txBody>
      </p:sp>
      <p:sp>
        <p:nvSpPr>
          <p:cNvPr id="2" name="TextBox 1">
            <a:extLst>
              <a:ext uri="{FF2B5EF4-FFF2-40B4-BE49-F238E27FC236}">
                <a16:creationId xmlns:a16="http://schemas.microsoft.com/office/drawing/2014/main" id="{B439D4C3-1871-B948-8B24-F7CEFEE93D37}"/>
              </a:ext>
            </a:extLst>
          </p:cNvPr>
          <p:cNvSpPr txBox="1"/>
          <p:nvPr/>
        </p:nvSpPr>
        <p:spPr>
          <a:xfrm>
            <a:off x="2138081" y="3827796"/>
            <a:ext cx="2262487" cy="461665"/>
          </a:xfrm>
          <a:prstGeom prst="rect">
            <a:avLst/>
          </a:prstGeom>
          <a:noFill/>
        </p:spPr>
        <p:txBody>
          <a:bodyPr wrap="square" rtlCol="0">
            <a:spAutoFit/>
          </a:bodyPr>
          <a:lstStyle/>
          <a:p>
            <a:pPr algn="r"/>
            <a:r>
              <a:rPr lang="en-US" sz="2400" dirty="0">
                <a:solidFill>
                  <a:schemeClr val="bg1"/>
                </a:solidFill>
              </a:rPr>
              <a:t>Business Model</a:t>
            </a:r>
          </a:p>
        </p:txBody>
      </p:sp>
      <p:sp>
        <p:nvSpPr>
          <p:cNvPr id="13" name="Rectangle 12">
            <a:extLst>
              <a:ext uri="{FF2B5EF4-FFF2-40B4-BE49-F238E27FC236}">
                <a16:creationId xmlns:a16="http://schemas.microsoft.com/office/drawing/2014/main" id="{519A952F-273F-DE42-8319-C88D3096700F}"/>
              </a:ext>
            </a:extLst>
          </p:cNvPr>
          <p:cNvSpPr/>
          <p:nvPr/>
        </p:nvSpPr>
        <p:spPr>
          <a:xfrm>
            <a:off x="4522868" y="2701745"/>
            <a:ext cx="7412144" cy="609600"/>
          </a:xfrm>
          <a:prstGeom prst="rect">
            <a:avLst/>
          </a:prstGeom>
          <a:solidFill>
            <a:schemeClr val="accent2">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28%</a:t>
            </a:r>
          </a:p>
        </p:txBody>
      </p:sp>
      <p:sp>
        <p:nvSpPr>
          <p:cNvPr id="18" name="TextBox 17">
            <a:extLst>
              <a:ext uri="{FF2B5EF4-FFF2-40B4-BE49-F238E27FC236}">
                <a16:creationId xmlns:a16="http://schemas.microsoft.com/office/drawing/2014/main" id="{0404C1B2-801E-5D49-B64B-F1969070AFC6}"/>
              </a:ext>
            </a:extLst>
          </p:cNvPr>
          <p:cNvSpPr txBox="1"/>
          <p:nvPr/>
        </p:nvSpPr>
        <p:spPr>
          <a:xfrm>
            <a:off x="2138081" y="2821879"/>
            <a:ext cx="2262487" cy="461665"/>
          </a:xfrm>
          <a:prstGeom prst="rect">
            <a:avLst/>
          </a:prstGeom>
          <a:noFill/>
        </p:spPr>
        <p:txBody>
          <a:bodyPr wrap="square" rtlCol="0">
            <a:spAutoFit/>
          </a:bodyPr>
          <a:lstStyle/>
          <a:p>
            <a:pPr algn="r"/>
            <a:r>
              <a:rPr lang="en-US" sz="2400" dirty="0">
                <a:solidFill>
                  <a:schemeClr val="bg1"/>
                </a:solidFill>
              </a:rPr>
              <a:t>Ran out of Cash</a:t>
            </a:r>
          </a:p>
        </p:txBody>
      </p:sp>
      <p:sp>
        <p:nvSpPr>
          <p:cNvPr id="17" name="Rectangle 16">
            <a:extLst>
              <a:ext uri="{FF2B5EF4-FFF2-40B4-BE49-F238E27FC236}">
                <a16:creationId xmlns:a16="http://schemas.microsoft.com/office/drawing/2014/main" id="{A0C2AEE2-714E-F340-A42D-BE40D2F1A858}"/>
              </a:ext>
            </a:extLst>
          </p:cNvPr>
          <p:cNvSpPr/>
          <p:nvPr/>
        </p:nvSpPr>
        <p:spPr>
          <a:xfrm>
            <a:off x="4522868" y="4713579"/>
            <a:ext cx="4774707" cy="609600"/>
          </a:xfrm>
          <a:prstGeom prst="rect">
            <a:avLst/>
          </a:prstGeom>
          <a:solidFill>
            <a:schemeClr val="accent3">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r"/>
            <a:r>
              <a:rPr lang="en-SA" sz="3200" dirty="0"/>
              <a:t>18%</a:t>
            </a:r>
          </a:p>
        </p:txBody>
      </p:sp>
      <p:sp>
        <p:nvSpPr>
          <p:cNvPr id="19" name="TextBox 18">
            <a:extLst>
              <a:ext uri="{FF2B5EF4-FFF2-40B4-BE49-F238E27FC236}">
                <a16:creationId xmlns:a16="http://schemas.microsoft.com/office/drawing/2014/main" id="{ED13A58F-7EBC-2048-836B-9234D3573F3C}"/>
              </a:ext>
            </a:extLst>
          </p:cNvPr>
          <p:cNvSpPr txBox="1"/>
          <p:nvPr/>
        </p:nvSpPr>
        <p:spPr>
          <a:xfrm>
            <a:off x="2138081" y="4833713"/>
            <a:ext cx="2262487" cy="461665"/>
          </a:xfrm>
          <a:prstGeom prst="rect">
            <a:avLst/>
          </a:prstGeom>
          <a:noFill/>
        </p:spPr>
        <p:txBody>
          <a:bodyPr wrap="square" rtlCol="0">
            <a:spAutoFit/>
          </a:bodyPr>
          <a:lstStyle/>
          <a:p>
            <a:pPr algn="r"/>
            <a:r>
              <a:rPr lang="en-US" sz="2400" dirty="0">
                <a:solidFill>
                  <a:schemeClr val="bg1"/>
                </a:solidFill>
              </a:rPr>
              <a:t>Low Traction</a:t>
            </a:r>
          </a:p>
        </p:txBody>
      </p:sp>
      <p:grpSp>
        <p:nvGrpSpPr>
          <p:cNvPr id="9" name="Group 8">
            <a:extLst>
              <a:ext uri="{FF2B5EF4-FFF2-40B4-BE49-F238E27FC236}">
                <a16:creationId xmlns:a16="http://schemas.microsoft.com/office/drawing/2014/main" id="{2D330643-2FFE-1749-B2BD-9B2C61B04CF6}"/>
              </a:ext>
            </a:extLst>
          </p:cNvPr>
          <p:cNvGrpSpPr/>
          <p:nvPr/>
        </p:nvGrpSpPr>
        <p:grpSpPr>
          <a:xfrm>
            <a:off x="6114291" y="3116115"/>
            <a:ext cx="1929442" cy="1929442"/>
            <a:chOff x="6114291" y="3116115"/>
            <a:chExt cx="1929442" cy="1929442"/>
          </a:xfrm>
        </p:grpSpPr>
        <p:sp>
          <p:nvSpPr>
            <p:cNvPr id="3" name="Oval 2">
              <a:extLst>
                <a:ext uri="{FF2B5EF4-FFF2-40B4-BE49-F238E27FC236}">
                  <a16:creationId xmlns:a16="http://schemas.microsoft.com/office/drawing/2014/main" id="{AFE5E837-5D1A-014F-9119-4EFF79301294}"/>
                </a:ext>
              </a:extLst>
            </p:cNvPr>
            <p:cNvSpPr/>
            <p:nvPr/>
          </p:nvSpPr>
          <p:spPr>
            <a:xfrm>
              <a:off x="6114291" y="3116115"/>
              <a:ext cx="1929442" cy="1929442"/>
            </a:xfrm>
            <a:prstGeom prst="ellipse">
              <a:avLst/>
            </a:prstGeom>
            <a:noFill/>
            <a:ln w="66675">
              <a:solidFill>
                <a:srgbClr val="44C79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44C79F"/>
                  </a:solidFill>
                </a:rPr>
                <a:t>Investment</a:t>
              </a:r>
            </a:p>
            <a:p>
              <a:pPr algn="ctr"/>
              <a:endParaRPr lang="en-US" dirty="0">
                <a:solidFill>
                  <a:srgbClr val="44C79F"/>
                </a:solidFill>
              </a:endParaRPr>
            </a:p>
          </p:txBody>
        </p:sp>
        <p:grpSp>
          <p:nvGrpSpPr>
            <p:cNvPr id="16" name="Google Shape;8956;p60">
              <a:extLst>
                <a:ext uri="{FF2B5EF4-FFF2-40B4-BE49-F238E27FC236}">
                  <a16:creationId xmlns:a16="http://schemas.microsoft.com/office/drawing/2014/main" id="{24AEE5EE-2F14-6441-AA98-891528B932B1}"/>
                </a:ext>
              </a:extLst>
            </p:cNvPr>
            <p:cNvGrpSpPr/>
            <p:nvPr/>
          </p:nvGrpSpPr>
          <p:grpSpPr>
            <a:xfrm>
              <a:off x="6768453" y="4116187"/>
              <a:ext cx="625252" cy="346548"/>
              <a:chOff x="896050" y="2725450"/>
              <a:chExt cx="476500" cy="264100"/>
            </a:xfrm>
            <a:solidFill>
              <a:srgbClr val="44C79F"/>
            </a:solidFill>
          </p:grpSpPr>
          <p:sp>
            <p:nvSpPr>
              <p:cNvPr id="20" name="Google Shape;8957;p60">
                <a:extLst>
                  <a:ext uri="{FF2B5EF4-FFF2-40B4-BE49-F238E27FC236}">
                    <a16:creationId xmlns:a16="http://schemas.microsoft.com/office/drawing/2014/main" id="{E0D3C892-C476-2B45-BD49-2DC25618C6C4}"/>
                  </a:ext>
                </a:extLst>
              </p:cNvPr>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1" name="Google Shape;8958;p60">
                <a:extLst>
                  <a:ext uri="{FF2B5EF4-FFF2-40B4-BE49-F238E27FC236}">
                    <a16:creationId xmlns:a16="http://schemas.microsoft.com/office/drawing/2014/main" id="{F0FDD12F-F085-BE44-97E1-40BEDE4EF13C}"/>
                  </a:ext>
                </a:extLst>
              </p:cNvPr>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2" name="Google Shape;8959;p60">
                <a:extLst>
                  <a:ext uri="{FF2B5EF4-FFF2-40B4-BE49-F238E27FC236}">
                    <a16:creationId xmlns:a16="http://schemas.microsoft.com/office/drawing/2014/main" id="{41970B0C-2894-8743-9182-40FEC28AB061}"/>
                  </a:ext>
                </a:extLst>
              </p:cNvPr>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grpSp>
    </p:spTree>
    <p:extLst>
      <p:ext uri="{BB962C8B-B14F-4D97-AF65-F5344CB8AC3E}">
        <p14:creationId xmlns:p14="http://schemas.microsoft.com/office/powerpoint/2010/main" val="2240201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25292297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391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1517246"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1220850"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6EB8A345-ACB9-B841-8409-E454748F424D}"/>
              </a:ext>
            </a:extLst>
          </p:cNvPr>
          <p:cNvSpPr txBox="1"/>
          <p:nvPr/>
        </p:nvSpPr>
        <p:spPr>
          <a:xfrm>
            <a:off x="3594924" y="970889"/>
            <a:ext cx="2622954" cy="461665"/>
          </a:xfrm>
          <a:prstGeom prst="rect">
            <a:avLst/>
          </a:prstGeom>
          <a:noFill/>
        </p:spPr>
        <p:txBody>
          <a:bodyPr wrap="square" rtlCol="0">
            <a:spAutoFit/>
          </a:bodyPr>
          <a:lstStyle/>
          <a:p>
            <a:r>
              <a:rPr lang="en-US" altLang="ko-KR" sz="1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24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240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z="1050" spc="300" dirty="0">
                <a:ln>
                  <a:solidFill>
                    <a:schemeClr val="accent1">
                      <a:alpha val="0"/>
                    </a:schemeClr>
                  </a:solidFill>
                </a:ln>
                <a:solidFill>
                  <a:srgbClr val="44C79F"/>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1600" spc="300" dirty="0">
              <a:ln>
                <a:solidFill>
                  <a:schemeClr val="accent1">
                    <a:alpha val="0"/>
                  </a:schemeClr>
                </a:solidFill>
              </a:ln>
              <a:solidFill>
                <a:srgbClr val="44C79F"/>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4" name="Straight Connector 3">
            <a:extLst>
              <a:ext uri="{FF2B5EF4-FFF2-40B4-BE49-F238E27FC236}">
                <a16:creationId xmlns:a16="http://schemas.microsoft.com/office/drawing/2014/main" id="{702201C7-8452-4A47-A02F-1F62601E2CCC}"/>
              </a:ext>
            </a:extLst>
          </p:cNvPr>
          <p:cNvCxnSpPr>
            <a:stCxn id="8" idx="3"/>
          </p:cNvCxnSpPr>
          <p:nvPr/>
        </p:nvCxnSpPr>
        <p:spPr>
          <a:xfrm>
            <a:off x="6217878" y="1201722"/>
            <a:ext cx="0" cy="4454556"/>
          </a:xfrm>
          <a:prstGeom prst="line">
            <a:avLst/>
          </a:prstGeom>
          <a:ln w="25400">
            <a:solidFill>
              <a:srgbClr val="44C79F"/>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09FB8DDA-077A-EE4C-84E6-FD00F4A7CF2F}"/>
              </a:ext>
            </a:extLst>
          </p:cNvPr>
          <p:cNvSpPr txBox="1"/>
          <p:nvPr/>
        </p:nvSpPr>
        <p:spPr>
          <a:xfrm>
            <a:off x="8975306" y="1432554"/>
            <a:ext cx="1440000" cy="646331"/>
          </a:xfrm>
          <a:prstGeom prst="rect">
            <a:avLst/>
          </a:prstGeom>
          <a:noFill/>
        </p:spPr>
        <p:txBody>
          <a:bodyPr wrap="square" rtlCol="0">
            <a:spAutoFit/>
          </a:bodyPr>
          <a:lstStyle/>
          <a:p>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ROE</a:t>
            </a:r>
          </a:p>
        </p:txBody>
      </p:sp>
      <p:sp>
        <p:nvSpPr>
          <p:cNvPr id="2" name="Rectangle 1">
            <a:extLst>
              <a:ext uri="{FF2B5EF4-FFF2-40B4-BE49-F238E27FC236}">
                <a16:creationId xmlns:a16="http://schemas.microsoft.com/office/drawing/2014/main" id="{786E0D4B-EAC5-014C-89C6-8955FA8A926B}"/>
              </a:ext>
            </a:extLst>
          </p:cNvPr>
          <p:cNvSpPr/>
          <p:nvPr/>
        </p:nvSpPr>
        <p:spPr>
          <a:xfrm>
            <a:off x="8975306" y="2505122"/>
            <a:ext cx="1440000" cy="646331"/>
          </a:xfrm>
          <a:prstGeom prst="rect">
            <a:avLst/>
          </a:prstGeom>
        </p:spPr>
        <p:txBody>
          <a:bodyPr wrap="none">
            <a:spAutoFit/>
          </a:bodyPr>
          <a:lstStyle/>
          <a:p>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ROI</a:t>
            </a:r>
            <a:endParaRPr lang="en-US" altLang="ko-KR" sz="3600" b="1" spc="300" dirty="0">
              <a:ln>
                <a:solidFill>
                  <a:schemeClr val="accent1">
                    <a:alpha val="0"/>
                  </a:schemeClr>
                </a:solidFill>
              </a:ln>
              <a:solidFill>
                <a:schemeClr val="bg1"/>
              </a:solidFill>
              <a:ea typeface="맑은 고딕" panose="020B0503020000020004" pitchFamily="50" charset="-127"/>
              <a:cs typeface="Calibri" panose="020F0502020204030204" pitchFamily="34" charset="0"/>
            </a:endParaRPr>
          </a:p>
        </p:txBody>
      </p:sp>
      <p:sp>
        <p:nvSpPr>
          <p:cNvPr id="7" name="Triangle 6">
            <a:extLst>
              <a:ext uri="{FF2B5EF4-FFF2-40B4-BE49-F238E27FC236}">
                <a16:creationId xmlns:a16="http://schemas.microsoft.com/office/drawing/2014/main" id="{58E5578D-8621-9945-BCBF-77ECAC33DF87}"/>
              </a:ext>
            </a:extLst>
          </p:cNvPr>
          <p:cNvSpPr/>
          <p:nvPr/>
        </p:nvSpPr>
        <p:spPr>
          <a:xfrm>
            <a:off x="8143198" y="1478896"/>
            <a:ext cx="642231" cy="553647"/>
          </a:xfrm>
          <a:prstGeom prst="triangle">
            <a:avLst/>
          </a:prstGeom>
          <a:solidFill>
            <a:srgbClr val="44C7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riangle 11">
            <a:extLst>
              <a:ext uri="{FF2B5EF4-FFF2-40B4-BE49-F238E27FC236}">
                <a16:creationId xmlns:a16="http://schemas.microsoft.com/office/drawing/2014/main" id="{3BB4BE7B-1ED3-4549-9A98-276BDE72E3ED}"/>
              </a:ext>
            </a:extLst>
          </p:cNvPr>
          <p:cNvSpPr/>
          <p:nvPr/>
        </p:nvSpPr>
        <p:spPr>
          <a:xfrm>
            <a:off x="8143198" y="2551464"/>
            <a:ext cx="642231" cy="553647"/>
          </a:xfrm>
          <a:prstGeom prst="triangle">
            <a:avLst/>
          </a:prstGeom>
          <a:solidFill>
            <a:srgbClr val="44C7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oogle Shape;10827;p66">
            <a:extLst>
              <a:ext uri="{FF2B5EF4-FFF2-40B4-BE49-F238E27FC236}">
                <a16:creationId xmlns:a16="http://schemas.microsoft.com/office/drawing/2014/main" id="{B6FCE820-B5BC-EC42-8170-57715265D520}"/>
              </a:ext>
            </a:extLst>
          </p:cNvPr>
          <p:cNvGrpSpPr/>
          <p:nvPr/>
        </p:nvGrpSpPr>
        <p:grpSpPr>
          <a:xfrm>
            <a:off x="7383517" y="4262255"/>
            <a:ext cx="695524" cy="691786"/>
            <a:chOff x="-3854375" y="2046625"/>
            <a:chExt cx="293025" cy="291450"/>
          </a:xfrm>
          <a:solidFill>
            <a:schemeClr val="bg1"/>
          </a:solidFill>
        </p:grpSpPr>
        <p:sp>
          <p:nvSpPr>
            <p:cNvPr id="17" name="Google Shape;10828;p66">
              <a:extLst>
                <a:ext uri="{FF2B5EF4-FFF2-40B4-BE49-F238E27FC236}">
                  <a16:creationId xmlns:a16="http://schemas.microsoft.com/office/drawing/2014/main" id="{E5F9ADA1-E147-F94D-B869-FA190837ED13}"/>
                </a:ext>
              </a:extLst>
            </p:cNvPr>
            <p:cNvSpPr/>
            <p:nvPr/>
          </p:nvSpPr>
          <p:spPr>
            <a:xfrm>
              <a:off x="-3854375" y="2046625"/>
              <a:ext cx="293025" cy="291450"/>
            </a:xfrm>
            <a:custGeom>
              <a:avLst/>
              <a:gdLst/>
              <a:ahLst/>
              <a:cxnLst/>
              <a:rect l="l" t="t" r="r" b="b"/>
              <a:pathLst>
                <a:path w="11721" h="11658" extrusionOk="0">
                  <a:moveTo>
                    <a:pt x="7624" y="694"/>
                  </a:moveTo>
                  <a:cubicBezTo>
                    <a:pt x="9515" y="694"/>
                    <a:pt x="11058" y="2206"/>
                    <a:pt x="11058" y="4096"/>
                  </a:cubicBezTo>
                  <a:cubicBezTo>
                    <a:pt x="11058" y="5987"/>
                    <a:pt x="9515" y="7530"/>
                    <a:pt x="7624" y="7530"/>
                  </a:cubicBezTo>
                  <a:cubicBezTo>
                    <a:pt x="5734" y="7530"/>
                    <a:pt x="4190" y="5987"/>
                    <a:pt x="4190" y="4096"/>
                  </a:cubicBezTo>
                  <a:cubicBezTo>
                    <a:pt x="4190" y="2206"/>
                    <a:pt x="5734" y="694"/>
                    <a:pt x="7624" y="694"/>
                  </a:cubicBezTo>
                  <a:close/>
                  <a:moveTo>
                    <a:pt x="3336" y="8066"/>
                  </a:moveTo>
                  <a:cubicBezTo>
                    <a:pt x="3426" y="8066"/>
                    <a:pt x="3513" y="8098"/>
                    <a:pt x="3560" y="8161"/>
                  </a:cubicBezTo>
                  <a:cubicBezTo>
                    <a:pt x="3686" y="8287"/>
                    <a:pt x="3686" y="8507"/>
                    <a:pt x="3560" y="8633"/>
                  </a:cubicBezTo>
                  <a:lnTo>
                    <a:pt x="1323" y="10870"/>
                  </a:lnTo>
                  <a:cubicBezTo>
                    <a:pt x="1260" y="10933"/>
                    <a:pt x="1174" y="10964"/>
                    <a:pt x="1087" y="10964"/>
                  </a:cubicBezTo>
                  <a:cubicBezTo>
                    <a:pt x="1001" y="10964"/>
                    <a:pt x="914" y="10933"/>
                    <a:pt x="851" y="10870"/>
                  </a:cubicBezTo>
                  <a:cubicBezTo>
                    <a:pt x="725" y="10744"/>
                    <a:pt x="725" y="10523"/>
                    <a:pt x="851" y="10397"/>
                  </a:cubicBezTo>
                  <a:lnTo>
                    <a:pt x="3088" y="8161"/>
                  </a:lnTo>
                  <a:cubicBezTo>
                    <a:pt x="3151" y="8098"/>
                    <a:pt x="3245" y="8066"/>
                    <a:pt x="3336" y="8066"/>
                  </a:cubicBezTo>
                  <a:close/>
                  <a:moveTo>
                    <a:pt x="7624" y="1"/>
                  </a:moveTo>
                  <a:cubicBezTo>
                    <a:pt x="5356" y="1"/>
                    <a:pt x="3529" y="1860"/>
                    <a:pt x="3529" y="4096"/>
                  </a:cubicBezTo>
                  <a:cubicBezTo>
                    <a:pt x="3529" y="5136"/>
                    <a:pt x="3875" y="6050"/>
                    <a:pt x="4505" y="6743"/>
                  </a:cubicBezTo>
                  <a:lnTo>
                    <a:pt x="3812" y="7467"/>
                  </a:lnTo>
                  <a:cubicBezTo>
                    <a:pt x="3661" y="7386"/>
                    <a:pt x="3500" y="7347"/>
                    <a:pt x="3342" y="7347"/>
                  </a:cubicBezTo>
                  <a:cubicBezTo>
                    <a:pt x="3074" y="7347"/>
                    <a:pt x="2813" y="7458"/>
                    <a:pt x="2615" y="7656"/>
                  </a:cubicBezTo>
                  <a:lnTo>
                    <a:pt x="378" y="9893"/>
                  </a:lnTo>
                  <a:cubicBezTo>
                    <a:pt x="0" y="10271"/>
                    <a:pt x="0" y="10964"/>
                    <a:pt x="378" y="11343"/>
                  </a:cubicBezTo>
                  <a:cubicBezTo>
                    <a:pt x="567" y="11532"/>
                    <a:pt x="851" y="11658"/>
                    <a:pt x="1103" y="11658"/>
                  </a:cubicBezTo>
                  <a:cubicBezTo>
                    <a:pt x="1355" y="11658"/>
                    <a:pt x="1607" y="11532"/>
                    <a:pt x="1796" y="11343"/>
                  </a:cubicBezTo>
                  <a:lnTo>
                    <a:pt x="4033" y="9106"/>
                  </a:lnTo>
                  <a:cubicBezTo>
                    <a:pt x="4348" y="8791"/>
                    <a:pt x="4442" y="8318"/>
                    <a:pt x="4253" y="7909"/>
                  </a:cubicBezTo>
                  <a:lnTo>
                    <a:pt x="4947" y="7215"/>
                  </a:lnTo>
                  <a:cubicBezTo>
                    <a:pt x="5671" y="7814"/>
                    <a:pt x="6616" y="8192"/>
                    <a:pt x="7593" y="8192"/>
                  </a:cubicBezTo>
                  <a:cubicBezTo>
                    <a:pt x="9861" y="8192"/>
                    <a:pt x="11689" y="6333"/>
                    <a:pt x="11689" y="4096"/>
                  </a:cubicBezTo>
                  <a:cubicBezTo>
                    <a:pt x="11720" y="1828"/>
                    <a:pt x="9861" y="1"/>
                    <a:pt x="7624"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9" name="Google Shape;10829;p66">
              <a:extLst>
                <a:ext uri="{FF2B5EF4-FFF2-40B4-BE49-F238E27FC236}">
                  <a16:creationId xmlns:a16="http://schemas.microsoft.com/office/drawing/2014/main" id="{D7E4A842-9924-FD44-80F4-46A14EA44306}"/>
                </a:ext>
              </a:extLst>
            </p:cNvPr>
            <p:cNvSpPr/>
            <p:nvPr/>
          </p:nvSpPr>
          <p:spPr>
            <a:xfrm>
              <a:off x="-3714975" y="2080500"/>
              <a:ext cx="103200" cy="119750"/>
            </a:xfrm>
            <a:custGeom>
              <a:avLst/>
              <a:gdLst/>
              <a:ahLst/>
              <a:cxnLst/>
              <a:rect l="l" t="t" r="r" b="b"/>
              <a:pathLst>
                <a:path w="4128" h="4790" extrusionOk="0">
                  <a:moveTo>
                    <a:pt x="2048" y="694"/>
                  </a:moveTo>
                  <a:cubicBezTo>
                    <a:pt x="2458" y="694"/>
                    <a:pt x="2710" y="1009"/>
                    <a:pt x="2710" y="1387"/>
                  </a:cubicBezTo>
                  <a:cubicBezTo>
                    <a:pt x="2710" y="1765"/>
                    <a:pt x="2395" y="2048"/>
                    <a:pt x="2048" y="2048"/>
                  </a:cubicBezTo>
                  <a:cubicBezTo>
                    <a:pt x="1702" y="2048"/>
                    <a:pt x="1387" y="1733"/>
                    <a:pt x="1387" y="1387"/>
                  </a:cubicBezTo>
                  <a:cubicBezTo>
                    <a:pt x="1355" y="1009"/>
                    <a:pt x="1670" y="694"/>
                    <a:pt x="2048" y="694"/>
                  </a:cubicBezTo>
                  <a:close/>
                  <a:moveTo>
                    <a:pt x="2363" y="2741"/>
                  </a:moveTo>
                  <a:cubicBezTo>
                    <a:pt x="2931" y="2741"/>
                    <a:pt x="3403" y="3214"/>
                    <a:pt x="3403" y="3781"/>
                  </a:cubicBezTo>
                  <a:lnTo>
                    <a:pt x="3403" y="4128"/>
                  </a:lnTo>
                  <a:lnTo>
                    <a:pt x="662" y="4128"/>
                  </a:lnTo>
                  <a:lnTo>
                    <a:pt x="662" y="3781"/>
                  </a:lnTo>
                  <a:cubicBezTo>
                    <a:pt x="662" y="3214"/>
                    <a:pt x="1135" y="2741"/>
                    <a:pt x="1702" y="2741"/>
                  </a:cubicBezTo>
                  <a:close/>
                  <a:moveTo>
                    <a:pt x="2048" y="1"/>
                  </a:moveTo>
                  <a:cubicBezTo>
                    <a:pt x="1292" y="1"/>
                    <a:pt x="662" y="631"/>
                    <a:pt x="662" y="1387"/>
                  </a:cubicBezTo>
                  <a:cubicBezTo>
                    <a:pt x="662" y="1702"/>
                    <a:pt x="788" y="2017"/>
                    <a:pt x="977" y="2237"/>
                  </a:cubicBezTo>
                  <a:cubicBezTo>
                    <a:pt x="410" y="2521"/>
                    <a:pt x="1" y="3119"/>
                    <a:pt x="1" y="3781"/>
                  </a:cubicBezTo>
                  <a:lnTo>
                    <a:pt x="1" y="4443"/>
                  </a:lnTo>
                  <a:cubicBezTo>
                    <a:pt x="1" y="4632"/>
                    <a:pt x="158" y="4789"/>
                    <a:pt x="347" y="4789"/>
                  </a:cubicBezTo>
                  <a:lnTo>
                    <a:pt x="3781" y="4789"/>
                  </a:lnTo>
                  <a:cubicBezTo>
                    <a:pt x="3970" y="4789"/>
                    <a:pt x="4128" y="4632"/>
                    <a:pt x="4128" y="4443"/>
                  </a:cubicBezTo>
                  <a:lnTo>
                    <a:pt x="4128" y="3781"/>
                  </a:lnTo>
                  <a:cubicBezTo>
                    <a:pt x="4096" y="3119"/>
                    <a:pt x="3718" y="2521"/>
                    <a:pt x="3120" y="2237"/>
                  </a:cubicBezTo>
                  <a:cubicBezTo>
                    <a:pt x="3309" y="2017"/>
                    <a:pt x="3435" y="1733"/>
                    <a:pt x="3435" y="1387"/>
                  </a:cubicBezTo>
                  <a:cubicBezTo>
                    <a:pt x="3435" y="631"/>
                    <a:pt x="2805" y="1"/>
                    <a:pt x="2048"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1" name="Google Shape;8956;p60">
            <a:extLst>
              <a:ext uri="{FF2B5EF4-FFF2-40B4-BE49-F238E27FC236}">
                <a16:creationId xmlns:a16="http://schemas.microsoft.com/office/drawing/2014/main" id="{34AF571C-94EB-414E-BF21-365295CAAEAA}"/>
              </a:ext>
            </a:extLst>
          </p:cNvPr>
          <p:cNvGrpSpPr/>
          <p:nvPr/>
        </p:nvGrpSpPr>
        <p:grpSpPr>
          <a:xfrm>
            <a:off x="8794623" y="4376605"/>
            <a:ext cx="835514" cy="463086"/>
            <a:chOff x="896050" y="2725450"/>
            <a:chExt cx="476500" cy="264100"/>
          </a:xfrm>
          <a:solidFill>
            <a:schemeClr val="bg1"/>
          </a:solidFill>
        </p:grpSpPr>
        <p:sp>
          <p:nvSpPr>
            <p:cNvPr id="22" name="Google Shape;8957;p60">
              <a:extLst>
                <a:ext uri="{FF2B5EF4-FFF2-40B4-BE49-F238E27FC236}">
                  <a16:creationId xmlns:a16="http://schemas.microsoft.com/office/drawing/2014/main" id="{47378443-12D6-894D-B868-530AFA8D83ED}"/>
                </a:ext>
              </a:extLst>
            </p:cNvPr>
            <p:cNvSpPr/>
            <p:nvPr/>
          </p:nvSpPr>
          <p:spPr>
            <a:xfrm>
              <a:off x="896050" y="2725450"/>
              <a:ext cx="476500" cy="264100"/>
            </a:xfrm>
            <a:custGeom>
              <a:avLst/>
              <a:gdLst/>
              <a:ahLst/>
              <a:cxnLst/>
              <a:rect l="l" t="t" r="r" b="b"/>
              <a:pathLst>
                <a:path w="19060" h="10564" extrusionOk="0">
                  <a:moveTo>
                    <a:pt x="17927" y="1133"/>
                  </a:moveTo>
                  <a:lnTo>
                    <a:pt x="17927" y="9431"/>
                  </a:lnTo>
                  <a:lnTo>
                    <a:pt x="1133" y="9431"/>
                  </a:lnTo>
                  <a:lnTo>
                    <a:pt x="1133" y="1133"/>
                  </a:lnTo>
                  <a:close/>
                  <a:moveTo>
                    <a:pt x="565" y="1"/>
                  </a:moveTo>
                  <a:cubicBezTo>
                    <a:pt x="254" y="1"/>
                    <a:pt x="1" y="255"/>
                    <a:pt x="1" y="569"/>
                  </a:cubicBezTo>
                  <a:lnTo>
                    <a:pt x="1" y="9995"/>
                  </a:lnTo>
                  <a:cubicBezTo>
                    <a:pt x="1" y="10309"/>
                    <a:pt x="254" y="10563"/>
                    <a:pt x="565" y="10563"/>
                  </a:cubicBezTo>
                  <a:lnTo>
                    <a:pt x="18495" y="10563"/>
                  </a:lnTo>
                  <a:cubicBezTo>
                    <a:pt x="18806" y="10563"/>
                    <a:pt x="19060" y="10309"/>
                    <a:pt x="19060" y="9995"/>
                  </a:cubicBezTo>
                  <a:lnTo>
                    <a:pt x="19060" y="569"/>
                  </a:lnTo>
                  <a:cubicBezTo>
                    <a:pt x="19060" y="255"/>
                    <a:pt x="18806" y="1"/>
                    <a:pt x="18495"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3" name="Google Shape;8958;p60">
              <a:extLst>
                <a:ext uri="{FF2B5EF4-FFF2-40B4-BE49-F238E27FC236}">
                  <a16:creationId xmlns:a16="http://schemas.microsoft.com/office/drawing/2014/main" id="{252631AF-7AE7-BB42-847A-6A856F442AAB}"/>
                </a:ext>
              </a:extLst>
            </p:cNvPr>
            <p:cNvSpPr/>
            <p:nvPr/>
          </p:nvSpPr>
          <p:spPr>
            <a:xfrm>
              <a:off x="951625" y="2774675"/>
              <a:ext cx="365450" cy="165650"/>
            </a:xfrm>
            <a:custGeom>
              <a:avLst/>
              <a:gdLst/>
              <a:ahLst/>
              <a:cxnLst/>
              <a:rect l="l" t="t" r="r" b="b"/>
              <a:pathLst>
                <a:path w="14618" h="6626" extrusionOk="0">
                  <a:moveTo>
                    <a:pt x="12063" y="1133"/>
                  </a:moveTo>
                  <a:cubicBezTo>
                    <a:pt x="12259" y="1818"/>
                    <a:pt x="12797" y="2356"/>
                    <a:pt x="13485" y="2552"/>
                  </a:cubicBezTo>
                  <a:lnTo>
                    <a:pt x="13485" y="4074"/>
                  </a:lnTo>
                  <a:cubicBezTo>
                    <a:pt x="12797" y="4273"/>
                    <a:pt x="12259" y="4808"/>
                    <a:pt x="12063" y="5496"/>
                  </a:cubicBezTo>
                  <a:lnTo>
                    <a:pt x="2552" y="5496"/>
                  </a:lnTo>
                  <a:cubicBezTo>
                    <a:pt x="2355" y="4808"/>
                    <a:pt x="1818" y="4270"/>
                    <a:pt x="1129" y="4074"/>
                  </a:cubicBezTo>
                  <a:lnTo>
                    <a:pt x="1129" y="2552"/>
                  </a:lnTo>
                  <a:cubicBezTo>
                    <a:pt x="1818" y="2356"/>
                    <a:pt x="2355" y="1818"/>
                    <a:pt x="2552" y="1133"/>
                  </a:cubicBezTo>
                  <a:close/>
                  <a:moveTo>
                    <a:pt x="2065" y="1"/>
                  </a:moveTo>
                  <a:cubicBezTo>
                    <a:pt x="1751" y="1"/>
                    <a:pt x="1498" y="254"/>
                    <a:pt x="1498" y="568"/>
                  </a:cubicBezTo>
                  <a:cubicBezTo>
                    <a:pt x="1498" y="1082"/>
                    <a:pt x="1081" y="1501"/>
                    <a:pt x="565" y="1501"/>
                  </a:cubicBezTo>
                  <a:cubicBezTo>
                    <a:pt x="251" y="1501"/>
                    <a:pt x="0" y="1755"/>
                    <a:pt x="0" y="2069"/>
                  </a:cubicBezTo>
                  <a:lnTo>
                    <a:pt x="0" y="4560"/>
                  </a:lnTo>
                  <a:cubicBezTo>
                    <a:pt x="0" y="4871"/>
                    <a:pt x="251" y="5125"/>
                    <a:pt x="565" y="5125"/>
                  </a:cubicBezTo>
                  <a:cubicBezTo>
                    <a:pt x="1081" y="5125"/>
                    <a:pt x="1498" y="5544"/>
                    <a:pt x="1498" y="6061"/>
                  </a:cubicBezTo>
                  <a:cubicBezTo>
                    <a:pt x="1498" y="6372"/>
                    <a:pt x="1751" y="6625"/>
                    <a:pt x="2065" y="6625"/>
                  </a:cubicBezTo>
                  <a:lnTo>
                    <a:pt x="12549" y="6625"/>
                  </a:lnTo>
                  <a:cubicBezTo>
                    <a:pt x="12863" y="6625"/>
                    <a:pt x="13117" y="6372"/>
                    <a:pt x="13117" y="6061"/>
                  </a:cubicBezTo>
                  <a:cubicBezTo>
                    <a:pt x="13117" y="5544"/>
                    <a:pt x="13533" y="5125"/>
                    <a:pt x="14050" y="5125"/>
                  </a:cubicBezTo>
                  <a:cubicBezTo>
                    <a:pt x="14364" y="5125"/>
                    <a:pt x="14617" y="4871"/>
                    <a:pt x="14617" y="4560"/>
                  </a:cubicBezTo>
                  <a:lnTo>
                    <a:pt x="14617" y="2069"/>
                  </a:lnTo>
                  <a:cubicBezTo>
                    <a:pt x="14617" y="1755"/>
                    <a:pt x="14364" y="1501"/>
                    <a:pt x="14050" y="1501"/>
                  </a:cubicBezTo>
                  <a:cubicBezTo>
                    <a:pt x="13533" y="1501"/>
                    <a:pt x="13117" y="1082"/>
                    <a:pt x="13117" y="568"/>
                  </a:cubicBezTo>
                  <a:cubicBezTo>
                    <a:pt x="13117" y="254"/>
                    <a:pt x="12863" y="1"/>
                    <a:pt x="12549"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24" name="Google Shape;8959;p60">
              <a:extLst>
                <a:ext uri="{FF2B5EF4-FFF2-40B4-BE49-F238E27FC236}">
                  <a16:creationId xmlns:a16="http://schemas.microsoft.com/office/drawing/2014/main" id="{00D87A4A-069D-904C-A216-9A312F4E203B}"/>
                </a:ext>
              </a:extLst>
            </p:cNvPr>
            <p:cNvSpPr/>
            <p:nvPr/>
          </p:nvSpPr>
          <p:spPr>
            <a:xfrm>
              <a:off x="1088625" y="2815075"/>
              <a:ext cx="88200" cy="84850"/>
            </a:xfrm>
            <a:custGeom>
              <a:avLst/>
              <a:gdLst/>
              <a:ahLst/>
              <a:cxnLst/>
              <a:rect l="l" t="t" r="r" b="b"/>
              <a:pathLst>
                <a:path w="3528" h="3394" extrusionOk="0">
                  <a:moveTo>
                    <a:pt x="1826" y="1132"/>
                  </a:moveTo>
                  <a:cubicBezTo>
                    <a:pt x="2115" y="1132"/>
                    <a:pt x="2393" y="1358"/>
                    <a:pt x="2395" y="1697"/>
                  </a:cubicBezTo>
                  <a:cubicBezTo>
                    <a:pt x="2395" y="2011"/>
                    <a:pt x="2141" y="2265"/>
                    <a:pt x="1827" y="2265"/>
                  </a:cubicBezTo>
                  <a:lnTo>
                    <a:pt x="1827" y="2262"/>
                  </a:lnTo>
                  <a:cubicBezTo>
                    <a:pt x="1326" y="2259"/>
                    <a:pt x="1075" y="1652"/>
                    <a:pt x="1432" y="1298"/>
                  </a:cubicBezTo>
                  <a:cubicBezTo>
                    <a:pt x="1547" y="1183"/>
                    <a:pt x="1688" y="1132"/>
                    <a:pt x="1826" y="1132"/>
                  </a:cubicBezTo>
                  <a:close/>
                  <a:moveTo>
                    <a:pt x="1827" y="0"/>
                  </a:moveTo>
                  <a:cubicBezTo>
                    <a:pt x="1142" y="0"/>
                    <a:pt x="523" y="414"/>
                    <a:pt x="260" y="1048"/>
                  </a:cubicBezTo>
                  <a:cubicBezTo>
                    <a:pt x="0" y="1682"/>
                    <a:pt x="145" y="2413"/>
                    <a:pt x="632" y="2899"/>
                  </a:cubicBezTo>
                  <a:cubicBezTo>
                    <a:pt x="954" y="3222"/>
                    <a:pt x="1388" y="3393"/>
                    <a:pt x="1829" y="3393"/>
                  </a:cubicBezTo>
                  <a:cubicBezTo>
                    <a:pt x="2048" y="3393"/>
                    <a:pt x="2269" y="3351"/>
                    <a:pt x="2479" y="3264"/>
                  </a:cubicBezTo>
                  <a:cubicBezTo>
                    <a:pt x="3114" y="3001"/>
                    <a:pt x="3524" y="2382"/>
                    <a:pt x="3527" y="1697"/>
                  </a:cubicBezTo>
                  <a:cubicBezTo>
                    <a:pt x="3524" y="761"/>
                    <a:pt x="2763" y="0"/>
                    <a:pt x="1827" y="0"/>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25" name="Google Shape;9838;p63">
            <a:extLst>
              <a:ext uri="{FF2B5EF4-FFF2-40B4-BE49-F238E27FC236}">
                <a16:creationId xmlns:a16="http://schemas.microsoft.com/office/drawing/2014/main" id="{E1ABC587-AF71-5045-B083-23A5CCA8B1A7}"/>
              </a:ext>
            </a:extLst>
          </p:cNvPr>
          <p:cNvSpPr/>
          <p:nvPr/>
        </p:nvSpPr>
        <p:spPr>
          <a:xfrm>
            <a:off x="10281561" y="4262254"/>
            <a:ext cx="658711" cy="691786"/>
          </a:xfrm>
          <a:custGeom>
            <a:avLst/>
            <a:gdLst/>
            <a:ahLst/>
            <a:cxnLst/>
            <a:rect l="l" t="t" r="r" b="b"/>
            <a:pathLst>
              <a:path w="11153" h="11713" extrusionOk="0">
                <a:moveTo>
                  <a:pt x="9594" y="693"/>
                </a:moveTo>
                <a:cubicBezTo>
                  <a:pt x="9767" y="693"/>
                  <a:pt x="9940" y="764"/>
                  <a:pt x="10082" y="906"/>
                </a:cubicBezTo>
                <a:cubicBezTo>
                  <a:pt x="10365" y="1158"/>
                  <a:pt x="10365" y="1599"/>
                  <a:pt x="10082" y="1883"/>
                </a:cubicBezTo>
                <a:lnTo>
                  <a:pt x="9168" y="2796"/>
                </a:lnTo>
                <a:lnTo>
                  <a:pt x="6175" y="3364"/>
                </a:lnTo>
                <a:lnTo>
                  <a:pt x="6175" y="1410"/>
                </a:lnTo>
                <a:lnTo>
                  <a:pt x="8475" y="1410"/>
                </a:lnTo>
                <a:cubicBezTo>
                  <a:pt x="8538" y="1410"/>
                  <a:pt x="8664" y="1379"/>
                  <a:pt x="8696" y="1284"/>
                </a:cubicBezTo>
                <a:lnTo>
                  <a:pt x="9105" y="906"/>
                </a:lnTo>
                <a:cubicBezTo>
                  <a:pt x="9247" y="764"/>
                  <a:pt x="9420" y="693"/>
                  <a:pt x="9594" y="693"/>
                </a:cubicBezTo>
                <a:close/>
                <a:moveTo>
                  <a:pt x="5136" y="749"/>
                </a:moveTo>
                <a:cubicBezTo>
                  <a:pt x="5325" y="749"/>
                  <a:pt x="5482" y="906"/>
                  <a:pt x="5482" y="1095"/>
                </a:cubicBezTo>
                <a:lnTo>
                  <a:pt x="5482" y="4214"/>
                </a:lnTo>
                <a:cubicBezTo>
                  <a:pt x="5356" y="4151"/>
                  <a:pt x="5230" y="4151"/>
                  <a:pt x="5136" y="4151"/>
                </a:cubicBezTo>
                <a:cubicBezTo>
                  <a:pt x="5010" y="4151"/>
                  <a:pt x="4884" y="4151"/>
                  <a:pt x="4758" y="4214"/>
                </a:cubicBezTo>
                <a:lnTo>
                  <a:pt x="4758" y="1095"/>
                </a:lnTo>
                <a:cubicBezTo>
                  <a:pt x="4758" y="906"/>
                  <a:pt x="4915" y="749"/>
                  <a:pt x="5136" y="749"/>
                </a:cubicBezTo>
                <a:close/>
                <a:moveTo>
                  <a:pt x="5136" y="4844"/>
                </a:moveTo>
                <a:cubicBezTo>
                  <a:pt x="5671" y="4844"/>
                  <a:pt x="6144" y="5317"/>
                  <a:pt x="6144" y="5852"/>
                </a:cubicBezTo>
                <a:cubicBezTo>
                  <a:pt x="6144" y="6419"/>
                  <a:pt x="5671" y="6861"/>
                  <a:pt x="5136" y="6861"/>
                </a:cubicBezTo>
                <a:cubicBezTo>
                  <a:pt x="4568" y="6861"/>
                  <a:pt x="4096" y="6388"/>
                  <a:pt x="4096" y="5852"/>
                </a:cubicBezTo>
                <a:cubicBezTo>
                  <a:pt x="4096" y="5317"/>
                  <a:pt x="4568" y="4844"/>
                  <a:pt x="5136" y="4844"/>
                </a:cubicBezTo>
                <a:close/>
                <a:moveTo>
                  <a:pt x="4096" y="1442"/>
                </a:moveTo>
                <a:lnTo>
                  <a:pt x="4096" y="4529"/>
                </a:lnTo>
                <a:cubicBezTo>
                  <a:pt x="3655" y="4844"/>
                  <a:pt x="3434" y="5348"/>
                  <a:pt x="3434" y="5884"/>
                </a:cubicBezTo>
                <a:cubicBezTo>
                  <a:pt x="3434" y="6136"/>
                  <a:pt x="3466" y="6419"/>
                  <a:pt x="3592" y="6609"/>
                </a:cubicBezTo>
                <a:lnTo>
                  <a:pt x="2332" y="8184"/>
                </a:lnTo>
                <a:cubicBezTo>
                  <a:pt x="1323" y="7522"/>
                  <a:pt x="725" y="6356"/>
                  <a:pt x="725" y="5159"/>
                </a:cubicBezTo>
                <a:cubicBezTo>
                  <a:pt x="662" y="3143"/>
                  <a:pt x="2206" y="1568"/>
                  <a:pt x="4096" y="1442"/>
                </a:cubicBezTo>
                <a:close/>
                <a:moveTo>
                  <a:pt x="8916" y="3521"/>
                </a:moveTo>
                <a:lnTo>
                  <a:pt x="8916" y="4466"/>
                </a:lnTo>
                <a:cubicBezTo>
                  <a:pt x="8916" y="4529"/>
                  <a:pt x="8916" y="4592"/>
                  <a:pt x="8948" y="4624"/>
                </a:cubicBezTo>
                <a:lnTo>
                  <a:pt x="9798" y="6419"/>
                </a:lnTo>
                <a:cubicBezTo>
                  <a:pt x="9893" y="6577"/>
                  <a:pt x="9798" y="6672"/>
                  <a:pt x="9798" y="6735"/>
                </a:cubicBezTo>
                <a:cubicBezTo>
                  <a:pt x="9767" y="6766"/>
                  <a:pt x="9704" y="6892"/>
                  <a:pt x="9546" y="6892"/>
                </a:cubicBezTo>
                <a:lnTo>
                  <a:pt x="9263" y="6892"/>
                </a:lnTo>
                <a:cubicBezTo>
                  <a:pt x="9074" y="6892"/>
                  <a:pt x="8916" y="7050"/>
                  <a:pt x="8916" y="7239"/>
                </a:cubicBezTo>
                <a:lnTo>
                  <a:pt x="8916" y="8341"/>
                </a:lnTo>
                <a:cubicBezTo>
                  <a:pt x="8633" y="8467"/>
                  <a:pt x="8381" y="8656"/>
                  <a:pt x="8286" y="8971"/>
                </a:cubicBezTo>
                <a:lnTo>
                  <a:pt x="6522" y="8971"/>
                </a:lnTo>
                <a:cubicBezTo>
                  <a:pt x="5955" y="8971"/>
                  <a:pt x="5482" y="8499"/>
                  <a:pt x="5482" y="7932"/>
                </a:cubicBezTo>
                <a:lnTo>
                  <a:pt x="5482" y="7554"/>
                </a:lnTo>
                <a:cubicBezTo>
                  <a:pt x="6270" y="7396"/>
                  <a:pt x="6868" y="6672"/>
                  <a:pt x="6868" y="5852"/>
                </a:cubicBezTo>
                <a:cubicBezTo>
                  <a:pt x="6868" y="5317"/>
                  <a:pt x="6585" y="4781"/>
                  <a:pt x="6207" y="4466"/>
                </a:cubicBezTo>
                <a:lnTo>
                  <a:pt x="6207" y="4088"/>
                </a:lnTo>
                <a:lnTo>
                  <a:pt x="8916" y="3521"/>
                </a:lnTo>
                <a:close/>
                <a:moveTo>
                  <a:pt x="9231" y="8940"/>
                </a:moveTo>
                <a:cubicBezTo>
                  <a:pt x="9420" y="8940"/>
                  <a:pt x="9578" y="9097"/>
                  <a:pt x="9578" y="9286"/>
                </a:cubicBezTo>
                <a:cubicBezTo>
                  <a:pt x="9578" y="9475"/>
                  <a:pt x="9420" y="9633"/>
                  <a:pt x="9231" y="9633"/>
                </a:cubicBezTo>
                <a:cubicBezTo>
                  <a:pt x="9011" y="9633"/>
                  <a:pt x="8853" y="9475"/>
                  <a:pt x="8853" y="9286"/>
                </a:cubicBezTo>
                <a:cubicBezTo>
                  <a:pt x="8853" y="9097"/>
                  <a:pt x="9011" y="8940"/>
                  <a:pt x="9231" y="8940"/>
                </a:cubicBezTo>
                <a:close/>
                <a:moveTo>
                  <a:pt x="3970" y="7144"/>
                </a:moveTo>
                <a:cubicBezTo>
                  <a:pt x="4222" y="7365"/>
                  <a:pt x="4442" y="7522"/>
                  <a:pt x="4758" y="7554"/>
                </a:cubicBezTo>
                <a:lnTo>
                  <a:pt x="4758" y="7932"/>
                </a:lnTo>
                <a:cubicBezTo>
                  <a:pt x="4758" y="8877"/>
                  <a:pt x="5514" y="9633"/>
                  <a:pt x="6459" y="9633"/>
                </a:cubicBezTo>
                <a:lnTo>
                  <a:pt x="8223" y="9633"/>
                </a:lnTo>
                <a:cubicBezTo>
                  <a:pt x="8286" y="9727"/>
                  <a:pt x="8318" y="9791"/>
                  <a:pt x="8349" y="9822"/>
                </a:cubicBezTo>
                <a:cubicBezTo>
                  <a:pt x="8034" y="10137"/>
                  <a:pt x="7593" y="10295"/>
                  <a:pt x="7183" y="10295"/>
                </a:cubicBezTo>
                <a:lnTo>
                  <a:pt x="5797" y="10295"/>
                </a:lnTo>
                <a:cubicBezTo>
                  <a:pt x="5608" y="10295"/>
                  <a:pt x="5451" y="10452"/>
                  <a:pt x="5451" y="10673"/>
                </a:cubicBezTo>
                <a:lnTo>
                  <a:pt x="5451" y="11051"/>
                </a:lnTo>
                <a:lnTo>
                  <a:pt x="2710" y="11051"/>
                </a:lnTo>
                <a:lnTo>
                  <a:pt x="2710" y="8719"/>
                </a:lnTo>
                <a:lnTo>
                  <a:pt x="3970" y="7144"/>
                </a:lnTo>
                <a:close/>
                <a:moveTo>
                  <a:pt x="9629" y="0"/>
                </a:moveTo>
                <a:cubicBezTo>
                  <a:pt x="9278" y="0"/>
                  <a:pt x="8932" y="134"/>
                  <a:pt x="8664" y="402"/>
                </a:cubicBezTo>
                <a:lnTo>
                  <a:pt x="8412" y="686"/>
                </a:lnTo>
                <a:lnTo>
                  <a:pt x="6144" y="686"/>
                </a:lnTo>
                <a:cubicBezTo>
                  <a:pt x="5986" y="308"/>
                  <a:pt x="5640" y="24"/>
                  <a:pt x="5167" y="24"/>
                </a:cubicBezTo>
                <a:cubicBezTo>
                  <a:pt x="4726" y="24"/>
                  <a:pt x="4348" y="308"/>
                  <a:pt x="4190" y="686"/>
                </a:cubicBezTo>
                <a:cubicBezTo>
                  <a:pt x="1859" y="812"/>
                  <a:pt x="0" y="2702"/>
                  <a:pt x="0" y="5033"/>
                </a:cubicBezTo>
                <a:cubicBezTo>
                  <a:pt x="0" y="6514"/>
                  <a:pt x="725" y="7900"/>
                  <a:pt x="1922" y="8688"/>
                </a:cubicBezTo>
                <a:lnTo>
                  <a:pt x="2048" y="8782"/>
                </a:lnTo>
                <a:lnTo>
                  <a:pt x="2048" y="11366"/>
                </a:lnTo>
                <a:cubicBezTo>
                  <a:pt x="2048" y="11555"/>
                  <a:pt x="2206" y="11712"/>
                  <a:pt x="2426" y="11712"/>
                </a:cubicBezTo>
                <a:lnTo>
                  <a:pt x="5829" y="11712"/>
                </a:lnTo>
                <a:cubicBezTo>
                  <a:pt x="6018" y="11712"/>
                  <a:pt x="6207" y="11555"/>
                  <a:pt x="6207" y="11366"/>
                </a:cubicBezTo>
                <a:lnTo>
                  <a:pt x="6207" y="10956"/>
                </a:lnTo>
                <a:lnTo>
                  <a:pt x="7215" y="10956"/>
                </a:lnTo>
                <a:cubicBezTo>
                  <a:pt x="7877" y="10956"/>
                  <a:pt x="8475" y="10704"/>
                  <a:pt x="8948" y="10232"/>
                </a:cubicBezTo>
                <a:cubicBezTo>
                  <a:pt x="9074" y="10263"/>
                  <a:pt x="9137" y="10263"/>
                  <a:pt x="9263" y="10263"/>
                </a:cubicBezTo>
                <a:cubicBezTo>
                  <a:pt x="9830" y="10263"/>
                  <a:pt x="10302" y="9791"/>
                  <a:pt x="10302" y="9223"/>
                </a:cubicBezTo>
                <a:cubicBezTo>
                  <a:pt x="10302" y="8814"/>
                  <a:pt x="10019" y="8404"/>
                  <a:pt x="9609" y="8247"/>
                </a:cubicBezTo>
                <a:lnTo>
                  <a:pt x="9609" y="7491"/>
                </a:lnTo>
                <a:cubicBezTo>
                  <a:pt x="9924" y="7459"/>
                  <a:pt x="10239" y="7302"/>
                  <a:pt x="10397" y="7018"/>
                </a:cubicBezTo>
                <a:cubicBezTo>
                  <a:pt x="10617" y="6703"/>
                  <a:pt x="10617" y="6356"/>
                  <a:pt x="10460" y="6041"/>
                </a:cubicBezTo>
                <a:lnTo>
                  <a:pt x="9609" y="4403"/>
                </a:lnTo>
                <a:lnTo>
                  <a:pt x="9609" y="3332"/>
                </a:lnTo>
                <a:lnTo>
                  <a:pt x="10617" y="2355"/>
                </a:lnTo>
                <a:cubicBezTo>
                  <a:pt x="11153" y="1788"/>
                  <a:pt x="11153" y="938"/>
                  <a:pt x="10617" y="402"/>
                </a:cubicBezTo>
                <a:cubicBezTo>
                  <a:pt x="10334" y="134"/>
                  <a:pt x="9979" y="0"/>
                  <a:pt x="9629" y="0"/>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0556986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par>
                                <p:cTn id="28" presetID="10" presetClass="entr" presetSubtype="0" fill="hold" nodeType="withEffect">
                                  <p:stCondLst>
                                    <p:cond delay="0"/>
                                  </p:stCondLst>
                                  <p:childTnLst>
                                    <p:set>
                                      <p:cBhvr>
                                        <p:cTn id="29" dur="1" fill="hold">
                                          <p:stCondLst>
                                            <p:cond delay="0"/>
                                          </p:stCondLst>
                                        </p:cTn>
                                        <p:tgtEl>
                                          <p:spTgt spid="21"/>
                                        </p:tgtEl>
                                        <p:attrNameLst>
                                          <p:attrName>style.visibility</p:attrName>
                                        </p:attrNameLst>
                                      </p:cBhvr>
                                      <p:to>
                                        <p:strVal val="visible"/>
                                      </p:to>
                                    </p:set>
                                    <p:animEffect transition="in" filter="fade">
                                      <p:cBhvr>
                                        <p:cTn id="30" dur="500"/>
                                        <p:tgtEl>
                                          <p:spTgt spid="2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 grpId="0"/>
      <p:bldP spid="7" grpId="0" animBg="1"/>
      <p:bldP spid="12" grpId="0" animBg="1"/>
      <p:bldP spid="25"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B02331-3415-0244-A6FB-190A96767AE5}"/>
              </a:ext>
            </a:extLst>
          </p:cNvPr>
          <p:cNvGraphicFramePr>
            <a:graphicFrameLocks noChangeAspect="1"/>
          </p:cNvGraphicFramePr>
          <p:nvPr>
            <p:custDataLst>
              <p:tags r:id="rId2"/>
            </p:custDataLst>
            <p:extLst>
              <p:ext uri="{D42A27DB-BD31-4B8C-83A1-F6EECF244321}">
                <p14:modId xmlns:p14="http://schemas.microsoft.com/office/powerpoint/2010/main" val="176074656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958"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CFB02331-3415-0244-A6FB-190A96767AE5}"/>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TextBox 5"/>
          <p:cNvSpPr txBox="1"/>
          <p:nvPr/>
        </p:nvSpPr>
        <p:spPr>
          <a:xfrm>
            <a:off x="1517246" y="3429000"/>
            <a:ext cx="4578754" cy="769441"/>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SAR</a:t>
            </a:r>
            <a:r>
              <a:rPr lang="en-US" altLang="ko-KR" sz="4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 </a:t>
            </a:r>
            <a:r>
              <a:rPr lang="en-US" altLang="ko-KR" sz="44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150,000</a:t>
            </a: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00</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
        <p:nvSpPr>
          <p:cNvPr id="10" name="Rectangle 9">
            <a:extLst>
              <a:ext uri="{FF2B5EF4-FFF2-40B4-BE49-F238E27FC236}">
                <a16:creationId xmlns:a16="http://schemas.microsoft.com/office/drawing/2014/main" id="{773FB5BE-AFB6-B84D-87D3-D6A4471A68D3}"/>
              </a:ext>
            </a:extLst>
          </p:cNvPr>
          <p:cNvSpPr/>
          <p:nvPr/>
        </p:nvSpPr>
        <p:spPr>
          <a:xfrm>
            <a:off x="1220850" y="2050431"/>
            <a:ext cx="4748149" cy="3605847"/>
          </a:xfrm>
          <a:prstGeom prst="rect">
            <a:avLst/>
          </a:prstGeom>
          <a:blipFill dpi="0" rotWithShape="1">
            <a:blip r:embed="rId7">
              <a:alphaModFix amt="77000"/>
            </a:blip>
            <a:srcRect/>
            <a:stretch>
              <a:fillRect/>
            </a:stretch>
          </a:blipFill>
          <a:ln>
            <a:solidFill>
              <a:schemeClr val="tx1">
                <a:lumMod val="75000"/>
                <a:lumOff val="25000"/>
              </a:schemeClr>
            </a:solidFill>
          </a:ln>
          <a:scene3d>
            <a:camera prst="isometricOffAxis1Right">
              <a:rot lat="276000" lon="20258101" rev="0"/>
            </a:camera>
            <a:lightRig rig="threePt" dir="t"/>
          </a:scene3d>
          <a:sp3d extrusionH="635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타원 17">
            <a:extLst>
              <a:ext uri="{FF2B5EF4-FFF2-40B4-BE49-F238E27FC236}">
                <a16:creationId xmlns:a16="http://schemas.microsoft.com/office/drawing/2014/main" id="{638F59E6-B230-0D4B-B1C6-3F15B1986C1C}"/>
              </a:ext>
            </a:extLst>
          </p:cNvPr>
          <p:cNvSpPr/>
          <p:nvPr/>
        </p:nvSpPr>
        <p:spPr>
          <a:xfrm>
            <a:off x="6562630" y="1348914"/>
            <a:ext cx="4540178" cy="4540178"/>
          </a:xfrm>
          <a:prstGeom prst="ellipse">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altLang="ko-KR" sz="44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Optimize?</a:t>
            </a:r>
            <a:endParaRPr lang="en-US" altLang="ko-KR" sz="4400" b="1" spc="300" dirty="0">
              <a:ln>
                <a:solidFill>
                  <a:schemeClr val="accent1">
                    <a:alpha val="0"/>
                  </a:schemeClr>
                </a:solidFill>
              </a:ln>
              <a:solidFill>
                <a:schemeClr val="bg1"/>
              </a:solidFill>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356965157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058CDE-2DC1-B74F-B5C0-8C123AA779F9}"/>
              </a:ext>
            </a:extLst>
          </p:cNvPr>
          <p:cNvGraphicFramePr>
            <a:graphicFrameLocks noChangeAspect="1"/>
          </p:cNvGraphicFramePr>
          <p:nvPr>
            <p:custDataLst>
              <p:tags r:id="rId2"/>
            </p:custDataLst>
            <p:extLst>
              <p:ext uri="{D42A27DB-BD31-4B8C-83A1-F6EECF244321}">
                <p14:modId xmlns:p14="http://schemas.microsoft.com/office/powerpoint/2010/main" val="54108758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463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모서리가 둥근 직사각형 4">
            <a:extLst>
              <a:ext uri="{FF2B5EF4-FFF2-40B4-BE49-F238E27FC236}">
                <a16:creationId xmlns:a16="http://schemas.microsoft.com/office/drawing/2014/main" id="{0530E4E1-BD66-AC44-8EEE-E75F166A24AC}"/>
              </a:ext>
            </a:extLst>
          </p:cNvPr>
          <p:cNvSpPr/>
          <p:nvPr/>
        </p:nvSpPr>
        <p:spPr>
          <a:xfrm flipH="1">
            <a:off x="728830" y="3137384"/>
            <a:ext cx="9814560" cy="392245"/>
          </a:xfrm>
          <a:prstGeom prst="leftArrow">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sp>
        <p:nvSpPr>
          <p:cNvPr id="4" name="TextBox 3">
            <a:extLst>
              <a:ext uri="{FF2B5EF4-FFF2-40B4-BE49-F238E27FC236}">
                <a16:creationId xmlns:a16="http://schemas.microsoft.com/office/drawing/2014/main" id="{1794E16C-C886-8C4A-BCE5-4F39C16CE7E1}"/>
              </a:ext>
            </a:extLst>
          </p:cNvPr>
          <p:cNvSpPr txBox="1"/>
          <p:nvPr/>
        </p:nvSpPr>
        <p:spPr>
          <a:xfrm>
            <a:off x="728830" y="2517898"/>
            <a:ext cx="8014338" cy="1631216"/>
          </a:xfrm>
          <a:prstGeom prst="rect">
            <a:avLst/>
          </a:prstGeom>
          <a:noFill/>
        </p:spPr>
        <p:txBody>
          <a:bodyPr wrap="square" rtlCol="0">
            <a:spAutoFit/>
          </a:bodyPr>
          <a:lstStyle/>
          <a:p>
            <a:r>
              <a:rPr lang="en-SA" sz="2000" dirty="0">
                <a:solidFill>
                  <a:schemeClr val="bg1"/>
                </a:solidFill>
              </a:rPr>
              <a:t>Life is all about</a:t>
            </a:r>
          </a:p>
          <a:p>
            <a:r>
              <a:rPr lang="en-SA" sz="6000" spc="300" dirty="0">
                <a:solidFill>
                  <a:schemeClr val="bg1"/>
                </a:solidFill>
                <a:latin typeface="+mj-lt"/>
                <a:ea typeface="+mj-ea"/>
                <a:cs typeface="+mj-cs"/>
              </a:rPr>
              <a:t>    PROGRESS</a:t>
            </a:r>
            <a:endParaRPr lang="en-SA" sz="2800" spc="300" dirty="0">
              <a:solidFill>
                <a:schemeClr val="bg1"/>
              </a:solidFill>
              <a:latin typeface="+mj-lt"/>
              <a:ea typeface="+mj-ea"/>
              <a:cs typeface="+mj-cs"/>
            </a:endParaRPr>
          </a:p>
          <a:p>
            <a:r>
              <a:rPr lang="en-SA" sz="2000" dirty="0">
                <a:solidFill>
                  <a:schemeClr val="bg1"/>
                </a:solidFill>
              </a:rPr>
              <a:t>H</a:t>
            </a:r>
            <a:r>
              <a:rPr lang="en-US" sz="2000" dirty="0">
                <a:solidFill>
                  <a:schemeClr val="bg1"/>
                </a:solidFill>
              </a:rPr>
              <a:t>o</a:t>
            </a:r>
            <a:r>
              <a:rPr lang="en-SA" sz="2000" dirty="0">
                <a:solidFill>
                  <a:schemeClr val="bg1"/>
                </a:solidFill>
              </a:rPr>
              <a:t>w can we move forward?</a:t>
            </a:r>
          </a:p>
        </p:txBody>
      </p:sp>
    </p:spTree>
    <p:extLst>
      <p:ext uri="{BB962C8B-B14F-4D97-AF65-F5344CB8AC3E}">
        <p14:creationId xmlns:p14="http://schemas.microsoft.com/office/powerpoint/2010/main" val="3578898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grpId="0" nodeType="withEffect">
                                  <p:stCondLst>
                                    <p:cond delay="0"/>
                                  </p:stCondLst>
                                  <p:childTnLst>
                                    <p:animScale>
                                      <p:cBhvr>
                                        <p:cTn id="6" dur="3000" fill="hold"/>
                                        <p:tgtEl>
                                          <p:spTgt spid="5"/>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CE8AD98-AA97-D049-BE28-1325F9F34218}"/>
              </a:ext>
            </a:extLst>
          </p:cNvPr>
          <p:cNvGraphicFramePr>
            <a:graphicFrameLocks noChangeAspect="1"/>
          </p:cNvGraphicFramePr>
          <p:nvPr>
            <p:custDataLst>
              <p:tags r:id="rId2"/>
            </p:custDataLst>
            <p:extLst>
              <p:ext uri="{D42A27DB-BD31-4B8C-83A1-F6EECF244321}">
                <p14:modId xmlns:p14="http://schemas.microsoft.com/office/powerpoint/2010/main" val="39523436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674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그림 개체 틀 2"/>
          <p:cNvPicPr>
            <a:picLocks noGrp="1" noChangeAspect="1"/>
          </p:cNvPicPr>
          <p:nvPr>
            <p:ph type="pic" sz="quarter" idx="13"/>
          </p:nvPr>
        </p:nvPicPr>
        <p:blipFill>
          <a:blip r:embed="rId7">
            <a:extLst>
              <a:ext uri="{BEBA8EAE-BF5A-486C-A8C5-ECC9F3942E4B}">
                <a14:imgProps xmlns:a14="http://schemas.microsoft.com/office/drawing/2010/main">
                  <a14:imgLayer r:embed="rId8">
                    <a14:imgEffect>
                      <a14:saturation sat="80000"/>
                    </a14:imgEffect>
                  </a14:imgLayer>
                </a14:imgProps>
              </a:ext>
              <a:ext uri="{28A0092B-C50C-407E-A947-70E740481C1C}">
                <a14:useLocalDpi xmlns:a14="http://schemas.microsoft.com/office/drawing/2010/main" val="0"/>
              </a:ext>
            </a:extLst>
          </a:blip>
          <a:srcRect t="7801" b="7801"/>
          <a:stretch>
            <a:fillRect/>
          </a:stretch>
        </p:blipFill>
        <p:spPr>
          <a:xfrm>
            <a:off x="1334943" y="2947344"/>
            <a:ext cx="5934997" cy="3330063"/>
          </a:xfrm>
        </p:spPr>
      </p:pic>
      <p:sp>
        <p:nvSpPr>
          <p:cNvPr id="4" name="직사각형 3"/>
          <p:cNvSpPr/>
          <p:nvPr/>
        </p:nvSpPr>
        <p:spPr>
          <a:xfrm>
            <a:off x="820592" y="2413943"/>
            <a:ext cx="5934997" cy="3330063"/>
          </a:xfrm>
          <a:prstGeom prst="rect">
            <a:avLst/>
          </a:pr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1" eaLnBrk="1" latinLnBrk="1" hangingPunct="1"/>
            <a:endParaRPr lang="ko-KR" altLang="en-US"/>
          </a:p>
        </p:txBody>
      </p:sp>
      <p:sp>
        <p:nvSpPr>
          <p:cNvPr id="10" name="타원 17">
            <a:extLst>
              <a:ext uri="{FF2B5EF4-FFF2-40B4-BE49-F238E27FC236}">
                <a16:creationId xmlns:a16="http://schemas.microsoft.com/office/drawing/2014/main" id="{93A7E155-4A94-1448-97C5-0001C4DF1F53}"/>
              </a:ext>
            </a:extLst>
          </p:cNvPr>
          <p:cNvSpPr/>
          <p:nvPr/>
        </p:nvSpPr>
        <p:spPr>
          <a:xfrm>
            <a:off x="8259096" y="436104"/>
            <a:ext cx="3112312" cy="3112312"/>
          </a:xfrm>
          <a:prstGeom prst="ellipse">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en-US" altLang="ko-KR" sz="28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Optimize?</a:t>
            </a:r>
            <a:endParaRPr lang="en-US" altLang="ko-KR" sz="2800" b="1" spc="300" dirty="0">
              <a:ln>
                <a:solidFill>
                  <a:schemeClr val="accent1">
                    <a:alpha val="0"/>
                  </a:schemeClr>
                </a:solidFill>
              </a:ln>
              <a:solidFill>
                <a:schemeClr val="bg1"/>
              </a:solidFill>
              <a:ea typeface="맑은 고딕" panose="020B0503020000020004" pitchFamily="50" charset="-127"/>
              <a:cs typeface="Calibri" panose="020F0502020204030204" pitchFamily="34" charset="0"/>
            </a:endParaRPr>
          </a:p>
        </p:txBody>
      </p:sp>
      <p:sp>
        <p:nvSpPr>
          <p:cNvPr id="2" name="TextBox 1">
            <a:extLst>
              <a:ext uri="{FF2B5EF4-FFF2-40B4-BE49-F238E27FC236}">
                <a16:creationId xmlns:a16="http://schemas.microsoft.com/office/drawing/2014/main" id="{AD72C51E-DFB8-A54D-905C-C165907E56F1}"/>
              </a:ext>
            </a:extLst>
          </p:cNvPr>
          <p:cNvSpPr txBox="1"/>
          <p:nvPr/>
        </p:nvSpPr>
        <p:spPr>
          <a:xfrm>
            <a:off x="1334943" y="3997733"/>
            <a:ext cx="5420645" cy="769441"/>
          </a:xfrm>
          <a:prstGeom prst="rect">
            <a:avLst/>
          </a:prstGeom>
          <a:noFill/>
        </p:spPr>
        <p:txBody>
          <a:bodyPr wrap="square" rtlCol="0">
            <a:spAutoFit/>
          </a:bodyPr>
          <a:lstStyle/>
          <a:p>
            <a:pPr algn="ctr"/>
            <a:r>
              <a:rPr lang="en-SA" sz="4400" dirty="0">
                <a:solidFill>
                  <a:schemeClr val="bg1"/>
                </a:solidFill>
              </a:rPr>
              <a:t>Website</a:t>
            </a:r>
          </a:p>
        </p:txBody>
      </p:sp>
    </p:spTree>
    <p:extLst>
      <p:ext uri="{BB962C8B-B14F-4D97-AF65-F5344CB8AC3E}">
        <p14:creationId xmlns:p14="http://schemas.microsoft.com/office/powerpoint/2010/main" val="27828137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1941689-1E8F-0446-BB41-E5943AE02A04}"/>
              </a:ext>
            </a:extLst>
          </p:cNvPr>
          <p:cNvGraphicFramePr>
            <a:graphicFrameLocks noChangeAspect="1"/>
          </p:cNvGraphicFramePr>
          <p:nvPr>
            <p:custDataLst>
              <p:tags r:id="rId2"/>
            </p:custDataLst>
            <p:extLst>
              <p:ext uri="{D42A27DB-BD31-4B8C-83A1-F6EECF244321}">
                <p14:modId xmlns:p14="http://schemas.microsoft.com/office/powerpoint/2010/main" val="3937374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777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ECAE9FA-AC46-1145-9905-D6B923656707}"/>
              </a:ext>
            </a:extLst>
          </p:cNvPr>
          <p:cNvSpPr txBox="1"/>
          <p:nvPr/>
        </p:nvSpPr>
        <p:spPr>
          <a:xfrm>
            <a:off x="3448756" y="45155"/>
            <a:ext cx="5294489" cy="261610"/>
          </a:xfrm>
          <a:prstGeom prst="rect">
            <a:avLst/>
          </a:prstGeom>
          <a:noFill/>
        </p:spPr>
        <p:txBody>
          <a:bodyPr wrap="square" rtlCol="0">
            <a:spAutoFit/>
          </a:bodyPr>
          <a:lstStyle/>
          <a:p>
            <a:pPr algn="ctr"/>
            <a:r>
              <a:rPr lang="en-SA" sz="1100" b="1" dirty="0">
                <a:solidFill>
                  <a:schemeClr val="bg1"/>
                </a:solidFill>
                <a:latin typeface="Arial" panose="020B0604020202020204" pitchFamily="34" charset="0"/>
                <a:cs typeface="Arial" panose="020B0604020202020204" pitchFamily="34" charset="0"/>
              </a:rPr>
              <a:t>End of slide show, click to exit</a:t>
            </a:r>
          </a:p>
        </p:txBody>
      </p:sp>
      <p:sp>
        <p:nvSpPr>
          <p:cNvPr id="11" name="TextBox 10">
            <a:extLst>
              <a:ext uri="{FF2B5EF4-FFF2-40B4-BE49-F238E27FC236}">
                <a16:creationId xmlns:a16="http://schemas.microsoft.com/office/drawing/2014/main" id="{522C4E84-1FAB-EB4F-844B-06EC771C4710}"/>
              </a:ext>
            </a:extLst>
          </p:cNvPr>
          <p:cNvSpPr txBox="1"/>
          <p:nvPr/>
        </p:nvSpPr>
        <p:spPr>
          <a:xfrm>
            <a:off x="3448755" y="306765"/>
            <a:ext cx="5294489" cy="261610"/>
          </a:xfrm>
          <a:prstGeom prst="rect">
            <a:avLst/>
          </a:prstGeom>
          <a:noFill/>
        </p:spPr>
        <p:txBody>
          <a:bodyPr wrap="square" rtlCol="0">
            <a:spAutoFit/>
          </a:bodyPr>
          <a:lstStyle/>
          <a:p>
            <a:pPr algn="ctr"/>
            <a:r>
              <a:rPr lang="en-SA" sz="1100" b="1" dirty="0">
                <a:solidFill>
                  <a:schemeClr val="bg1"/>
                </a:solidFill>
                <a:latin typeface="Arial" panose="020B0604020202020204" pitchFamily="34" charset="0"/>
                <a:cs typeface="Arial" panose="020B0604020202020204" pitchFamily="34" charset="0"/>
              </a:rPr>
              <a:t>- Seriously???</a:t>
            </a:r>
          </a:p>
        </p:txBody>
      </p:sp>
      <p:sp>
        <p:nvSpPr>
          <p:cNvPr id="12" name="TextBox 11">
            <a:extLst>
              <a:ext uri="{FF2B5EF4-FFF2-40B4-BE49-F238E27FC236}">
                <a16:creationId xmlns:a16="http://schemas.microsoft.com/office/drawing/2014/main" id="{23D27816-A272-8C42-A29F-B5DF09BF925B}"/>
              </a:ext>
            </a:extLst>
          </p:cNvPr>
          <p:cNvSpPr txBox="1"/>
          <p:nvPr/>
        </p:nvSpPr>
        <p:spPr>
          <a:xfrm>
            <a:off x="3448754" y="699180"/>
            <a:ext cx="5294489" cy="261610"/>
          </a:xfrm>
          <a:prstGeom prst="rect">
            <a:avLst/>
          </a:prstGeom>
          <a:noFill/>
        </p:spPr>
        <p:txBody>
          <a:bodyPr wrap="square" rtlCol="0">
            <a:spAutoFit/>
          </a:bodyPr>
          <a:lstStyle/>
          <a:p>
            <a:pPr algn="ctr"/>
            <a:r>
              <a:rPr lang="en-SA" sz="1100" b="1" dirty="0">
                <a:solidFill>
                  <a:schemeClr val="bg1"/>
                </a:solidFill>
                <a:latin typeface="Arial" panose="020B0604020202020204" pitchFamily="34" charset="0"/>
                <a:cs typeface="Arial" panose="020B0604020202020204" pitchFamily="34" charset="0"/>
              </a:rPr>
              <a:t>Why not?</a:t>
            </a:r>
          </a:p>
        </p:txBody>
      </p:sp>
    </p:spTree>
    <p:extLst>
      <p:ext uri="{BB962C8B-B14F-4D97-AF65-F5344CB8AC3E}">
        <p14:creationId xmlns:p14="http://schemas.microsoft.com/office/powerpoint/2010/main" val="2228975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190CB9-FE20-0C40-9C5E-CF2366F95B16}"/>
              </a:ext>
            </a:extLst>
          </p:cNvPr>
          <p:cNvGraphicFramePr>
            <a:graphicFrameLocks noChangeAspect="1"/>
          </p:cNvGraphicFramePr>
          <p:nvPr>
            <p:custDataLst>
              <p:tags r:id="rId2"/>
            </p:custDataLst>
            <p:extLst>
              <p:ext uri="{D42A27DB-BD31-4B8C-83A1-F6EECF244321}">
                <p14:modId xmlns:p14="http://schemas.microsoft.com/office/powerpoint/2010/main" val="2713722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879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9" name="그림 개체 틀 18"/>
          <p:cNvPicPr>
            <a:picLocks noGrp="1" noChangeAspect="1"/>
          </p:cNvPicPr>
          <p:nvPr>
            <p:ph type="pic" sz="quarter" idx="11"/>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8430" b="8430"/>
          <a:stretch>
            <a:fillRect/>
          </a:stretch>
        </p:blipFill>
        <p:spPr/>
      </p:pic>
      <p:sp>
        <p:nvSpPr>
          <p:cNvPr id="4" name="직사각형 3"/>
          <p:cNvSpPr/>
          <p:nvPr/>
        </p:nvSpPr>
        <p:spPr>
          <a:xfrm>
            <a:off x="0" y="0"/>
            <a:ext cx="12192000" cy="6858000"/>
          </a:xfrm>
          <a:prstGeom prst="rect">
            <a:avLst/>
          </a:prstGeom>
          <a:solidFill>
            <a:schemeClr val="accent4">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TextBox 5"/>
          <p:cNvSpPr txBox="1"/>
          <p:nvPr/>
        </p:nvSpPr>
        <p:spPr>
          <a:xfrm>
            <a:off x="86710" y="368712"/>
            <a:ext cx="8268105" cy="1323439"/>
          </a:xfrm>
          <a:prstGeom prst="rect">
            <a:avLst/>
          </a:prstGeom>
          <a:noFill/>
        </p:spPr>
        <p:txBody>
          <a:bodyPr wrap="square" rtlCol="0">
            <a:spAutoFit/>
          </a:bodyPr>
          <a:lstStyle/>
          <a:p>
            <a:pPr algn="ctr"/>
            <a:r>
              <a:rPr lang="en-US" altLang="ko-KR" sz="8000" spc="300" dirty="0">
                <a:ln>
                  <a:solidFill>
                    <a:schemeClr val="accent1">
                      <a:alpha val="0"/>
                    </a:schemeClr>
                  </a:solidFill>
                </a:ln>
                <a:gradFill>
                  <a:gsLst>
                    <a:gs pos="0">
                      <a:srgbClr val="B34768"/>
                    </a:gs>
                    <a:gs pos="100000">
                      <a:srgbClr val="3E8E86"/>
                    </a:gs>
                    <a:gs pos="50000">
                      <a:srgbClr val="2B2D78"/>
                    </a:gs>
                  </a:gsLst>
                  <a:lin ang="0" scaled="0"/>
                </a:gradFill>
                <a:latin typeface="Montserrat Medium" panose="00000600000000000000" pitchFamily="2" charset="0"/>
                <a:ea typeface="맑은 고딕" panose="020B0503020000020004" pitchFamily="50" charset="-127"/>
                <a:cs typeface="Calibri" panose="020F0502020204030204" pitchFamily="34" charset="0"/>
              </a:rPr>
              <a:t>#CHALLENGE</a:t>
            </a:r>
          </a:p>
        </p:txBody>
      </p:sp>
      <p:grpSp>
        <p:nvGrpSpPr>
          <p:cNvPr id="35" name="그룹 34"/>
          <p:cNvGrpSpPr/>
          <p:nvPr/>
        </p:nvGrpSpPr>
        <p:grpSpPr>
          <a:xfrm>
            <a:off x="6672232" y="7141859"/>
            <a:ext cx="3296319" cy="942236"/>
            <a:chOff x="4012429" y="1370113"/>
            <a:chExt cx="5616041" cy="1605316"/>
          </a:xfrm>
        </p:grpSpPr>
        <p:grpSp>
          <p:nvGrpSpPr>
            <p:cNvPr id="33" name="그룹 32"/>
            <p:cNvGrpSpPr/>
            <p:nvPr/>
          </p:nvGrpSpPr>
          <p:grpSpPr>
            <a:xfrm>
              <a:off x="4012429" y="1370114"/>
              <a:ext cx="3610678" cy="1605315"/>
              <a:chOff x="3962809" y="1370114"/>
              <a:chExt cx="4990691" cy="2218871"/>
            </a:xfrm>
          </p:grpSpPr>
          <p:sp>
            <p:nvSpPr>
              <p:cNvPr id="31" name="타원 30"/>
              <p:cNvSpPr/>
              <p:nvPr/>
            </p:nvSpPr>
            <p:spPr>
              <a:xfrm>
                <a:off x="6734629" y="1370114"/>
                <a:ext cx="2218871" cy="2218871"/>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pc="30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b.</a:t>
                </a:r>
                <a:endParaRPr lang="ko-KR" altLang="en-US">
                  <a:solidFill>
                    <a:schemeClr val="bg1"/>
                  </a:solidFill>
                </a:endParaRPr>
              </a:p>
            </p:txBody>
          </p:sp>
          <p:sp>
            <p:nvSpPr>
              <p:cNvPr id="32" name="타원 31"/>
              <p:cNvSpPr/>
              <p:nvPr/>
            </p:nvSpPr>
            <p:spPr>
              <a:xfrm>
                <a:off x="3962809" y="1370114"/>
                <a:ext cx="2218872" cy="2218871"/>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a.</a:t>
                </a:r>
                <a:endParaRPr lang="ko-KR" altLang="en-US" dirty="0">
                  <a:solidFill>
                    <a:schemeClr val="bg1"/>
                  </a:solidFill>
                </a:endParaRPr>
              </a:p>
            </p:txBody>
          </p:sp>
        </p:grpSp>
        <p:sp>
          <p:nvSpPr>
            <p:cNvPr id="34" name="타원 33"/>
            <p:cNvSpPr/>
            <p:nvPr/>
          </p:nvSpPr>
          <p:spPr>
            <a:xfrm>
              <a:off x="8023155" y="1370113"/>
              <a:ext cx="1605315" cy="1605314"/>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c.</a:t>
              </a:r>
              <a:endParaRPr lang="ko-KR" altLang="en-US" dirty="0">
                <a:solidFill>
                  <a:schemeClr val="bg1"/>
                </a:solidFill>
              </a:endParaRPr>
            </a:p>
          </p:txBody>
        </p:sp>
      </p:grpSp>
      <p:sp>
        <p:nvSpPr>
          <p:cNvPr id="12" name="Oval 11">
            <a:extLst>
              <a:ext uri="{FF2B5EF4-FFF2-40B4-BE49-F238E27FC236}">
                <a16:creationId xmlns:a16="http://schemas.microsoft.com/office/drawing/2014/main" id="{9D59CCE0-04ED-F642-ABF5-CF1CF7CAFAB4}"/>
              </a:ext>
            </a:extLst>
          </p:cNvPr>
          <p:cNvSpPr/>
          <p:nvPr/>
        </p:nvSpPr>
        <p:spPr>
          <a:xfrm>
            <a:off x="3720361" y="2060863"/>
            <a:ext cx="2920491" cy="2920491"/>
          </a:xfrm>
          <a:prstGeom prst="ellipse">
            <a:avLst/>
          </a:prstGeom>
          <a:solidFill>
            <a:schemeClr val="accent1">
              <a:alpha val="13000"/>
            </a:schemeClr>
          </a:solidFill>
        </p:spPr>
        <p:style>
          <a:lnRef idx="2">
            <a:schemeClr val="accent1">
              <a:shade val="50000"/>
            </a:schemeClr>
          </a:lnRef>
          <a:fillRef idx="1">
            <a:schemeClr val="accent1"/>
          </a:fillRef>
          <a:effectRef idx="0">
            <a:schemeClr val="accent1"/>
          </a:effectRef>
          <a:fontRef idx="minor">
            <a:schemeClr val="lt1"/>
          </a:fontRef>
        </p:style>
        <p:txBody>
          <a:bodyPr rIns="540000" rtlCol="0" anchor="ctr"/>
          <a:lstStyle/>
          <a:p>
            <a:pPr algn="ctr"/>
            <a:endParaRPr lang="en-US" sz="3200" dirty="0">
              <a:latin typeface="+mj-lt"/>
            </a:endParaRPr>
          </a:p>
        </p:txBody>
      </p:sp>
      <p:sp>
        <p:nvSpPr>
          <p:cNvPr id="13" name="Oval 12">
            <a:extLst>
              <a:ext uri="{FF2B5EF4-FFF2-40B4-BE49-F238E27FC236}">
                <a16:creationId xmlns:a16="http://schemas.microsoft.com/office/drawing/2014/main" id="{0850D3BF-CB85-CE4F-9154-5603D0224937}"/>
              </a:ext>
            </a:extLst>
          </p:cNvPr>
          <p:cNvSpPr/>
          <p:nvPr/>
        </p:nvSpPr>
        <p:spPr>
          <a:xfrm>
            <a:off x="5434324" y="2060864"/>
            <a:ext cx="2920491" cy="2920491"/>
          </a:xfrm>
          <a:prstGeom prst="ellipse">
            <a:avLst/>
          </a:prstGeom>
          <a:solidFill>
            <a:schemeClr val="accent3">
              <a:alpha val="12941"/>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800" dirty="0">
              <a:latin typeface="+mj-lt"/>
            </a:endParaRPr>
          </a:p>
        </p:txBody>
      </p:sp>
      <p:sp>
        <p:nvSpPr>
          <p:cNvPr id="14" name="Oval 13">
            <a:extLst>
              <a:ext uri="{FF2B5EF4-FFF2-40B4-BE49-F238E27FC236}">
                <a16:creationId xmlns:a16="http://schemas.microsoft.com/office/drawing/2014/main" id="{0211A093-3BA0-1C4F-ADD6-CD1296847377}"/>
              </a:ext>
            </a:extLst>
          </p:cNvPr>
          <p:cNvSpPr/>
          <p:nvPr/>
        </p:nvSpPr>
        <p:spPr>
          <a:xfrm>
            <a:off x="4635754" y="3391720"/>
            <a:ext cx="2920491" cy="2920491"/>
          </a:xfrm>
          <a:prstGeom prst="ellipse">
            <a:avLst/>
          </a:prstGeom>
          <a:solidFill>
            <a:srgbClr val="4582AD">
              <a:alpha val="13000"/>
            </a:srgbClr>
          </a:solidFill>
          <a:ln>
            <a:solidFill>
              <a:srgbClr val="4582AD"/>
            </a:solidFill>
          </a:ln>
        </p:spPr>
        <p:style>
          <a:lnRef idx="2">
            <a:schemeClr val="accent1">
              <a:shade val="50000"/>
            </a:schemeClr>
          </a:lnRef>
          <a:fillRef idx="1">
            <a:schemeClr val="accent1"/>
          </a:fillRef>
          <a:effectRef idx="0">
            <a:schemeClr val="accent1"/>
          </a:effectRef>
          <a:fontRef idx="minor">
            <a:schemeClr val="lt1"/>
          </a:fontRef>
        </p:style>
        <p:txBody>
          <a:bodyPr lIns="46800" tIns="540000" rIns="46800" rtlCol="0" anchor="ctr"/>
          <a:lstStyle/>
          <a:p>
            <a:pPr algn="ctr"/>
            <a:endParaRPr lang="en-US" sz="2800" dirty="0">
              <a:solidFill>
                <a:schemeClr val="accent2"/>
              </a:solidFill>
              <a:latin typeface="+mj-lt"/>
            </a:endParaRPr>
          </a:p>
        </p:txBody>
      </p:sp>
      <p:sp>
        <p:nvSpPr>
          <p:cNvPr id="2" name="Rectangle 1">
            <a:extLst>
              <a:ext uri="{FF2B5EF4-FFF2-40B4-BE49-F238E27FC236}">
                <a16:creationId xmlns:a16="http://schemas.microsoft.com/office/drawing/2014/main" id="{ACAD24BB-3147-C24B-BA9F-68B0F1CAC643}"/>
              </a:ext>
            </a:extLst>
          </p:cNvPr>
          <p:cNvSpPr/>
          <p:nvPr/>
        </p:nvSpPr>
        <p:spPr>
          <a:xfrm>
            <a:off x="2917769" y="2587193"/>
            <a:ext cx="2342308" cy="830997"/>
          </a:xfrm>
          <a:prstGeom prst="rect">
            <a:avLst/>
          </a:prstGeom>
        </p:spPr>
        <p:txBody>
          <a:bodyPr wrap="none">
            <a:spAutoFit/>
          </a:bodyPr>
          <a:lstStyle/>
          <a:p>
            <a:pPr algn="ctr"/>
            <a:r>
              <a:rPr lang="en-US" sz="4800" dirty="0">
                <a:solidFill>
                  <a:srgbClr val="3E8E86"/>
                </a:solidFill>
                <a:latin typeface="+mj-lt"/>
              </a:rPr>
              <a:t>SPEED</a:t>
            </a:r>
          </a:p>
        </p:txBody>
      </p:sp>
      <p:sp>
        <p:nvSpPr>
          <p:cNvPr id="16" name="Rectangle 15">
            <a:extLst>
              <a:ext uri="{FF2B5EF4-FFF2-40B4-BE49-F238E27FC236}">
                <a16:creationId xmlns:a16="http://schemas.microsoft.com/office/drawing/2014/main" id="{E9C78618-9494-904E-B861-E59C5425ACD8}"/>
              </a:ext>
            </a:extLst>
          </p:cNvPr>
          <p:cNvSpPr/>
          <p:nvPr/>
        </p:nvSpPr>
        <p:spPr>
          <a:xfrm>
            <a:off x="7143349" y="2564500"/>
            <a:ext cx="862737" cy="830997"/>
          </a:xfrm>
          <a:prstGeom prst="rect">
            <a:avLst/>
          </a:prstGeom>
        </p:spPr>
        <p:txBody>
          <a:bodyPr wrap="none">
            <a:spAutoFit/>
          </a:bodyPr>
          <a:lstStyle/>
          <a:p>
            <a:pPr algn="ctr"/>
            <a:r>
              <a:rPr lang="en-US" sz="4800" dirty="0">
                <a:solidFill>
                  <a:schemeClr val="accent3"/>
                </a:solidFill>
                <a:latin typeface="+mj-lt"/>
              </a:rPr>
              <a:t>UI</a:t>
            </a:r>
          </a:p>
        </p:txBody>
      </p:sp>
      <p:sp>
        <p:nvSpPr>
          <p:cNvPr id="17" name="Rectangle 16">
            <a:extLst>
              <a:ext uri="{FF2B5EF4-FFF2-40B4-BE49-F238E27FC236}">
                <a16:creationId xmlns:a16="http://schemas.microsoft.com/office/drawing/2014/main" id="{075BE9EF-CC0C-1C49-AC71-96925DF88E55}"/>
              </a:ext>
            </a:extLst>
          </p:cNvPr>
          <p:cNvSpPr/>
          <p:nvPr/>
        </p:nvSpPr>
        <p:spPr>
          <a:xfrm>
            <a:off x="5670632" y="5156430"/>
            <a:ext cx="4357283" cy="830997"/>
          </a:xfrm>
          <a:prstGeom prst="rect">
            <a:avLst/>
          </a:prstGeom>
        </p:spPr>
        <p:txBody>
          <a:bodyPr wrap="none">
            <a:spAutoFit/>
          </a:bodyPr>
          <a:lstStyle/>
          <a:p>
            <a:pPr algn="ctr"/>
            <a:r>
              <a:rPr lang="en-US" sz="4800" dirty="0">
                <a:solidFill>
                  <a:srgbClr val="4582AD"/>
                </a:solidFill>
                <a:latin typeface="+mj-lt"/>
              </a:rPr>
              <a:t>ENGAGMENT</a:t>
            </a:r>
          </a:p>
        </p:txBody>
      </p:sp>
      <p:sp>
        <p:nvSpPr>
          <p:cNvPr id="23" name="Freeform 22">
            <a:extLst>
              <a:ext uri="{FF2B5EF4-FFF2-40B4-BE49-F238E27FC236}">
                <a16:creationId xmlns:a16="http://schemas.microsoft.com/office/drawing/2014/main" id="{C1A9C1D9-F8E5-C044-A55E-21455C3A236E}"/>
              </a:ext>
            </a:extLst>
          </p:cNvPr>
          <p:cNvSpPr/>
          <p:nvPr/>
        </p:nvSpPr>
        <p:spPr>
          <a:xfrm>
            <a:off x="5435818" y="3392503"/>
            <a:ext cx="1205035" cy="1309931"/>
          </a:xfrm>
          <a:custGeom>
            <a:avLst/>
            <a:gdLst>
              <a:gd name="connsiteX0" fmla="*/ 660182 w 1205035"/>
              <a:gd name="connsiteY0" fmla="*/ 0 h 1309931"/>
              <a:gd name="connsiteX1" fmla="*/ 1094415 w 1205035"/>
              <a:gd name="connsiteY1" fmla="*/ 65650 h 1309931"/>
              <a:gd name="connsiteX2" fmla="*/ 1203839 w 1205035"/>
              <a:gd name="connsiteY2" fmla="*/ 105699 h 1309931"/>
              <a:gd name="connsiteX3" fmla="*/ 1205035 w 1205035"/>
              <a:gd name="connsiteY3" fmla="*/ 129389 h 1309931"/>
              <a:gd name="connsiteX4" fmla="*/ 673641 w 1205035"/>
              <a:gd name="connsiteY4" fmla="*/ 1256186 h 1309931"/>
              <a:gd name="connsiteX5" fmla="*/ 601770 w 1205035"/>
              <a:gd name="connsiteY5" fmla="*/ 1309931 h 1309931"/>
              <a:gd name="connsiteX6" fmla="*/ 529900 w 1205035"/>
              <a:gd name="connsiteY6" fmla="*/ 1256187 h 1309931"/>
              <a:gd name="connsiteX7" fmla="*/ 6045 w 1205035"/>
              <a:gd name="connsiteY7" fmla="*/ 278692 h 1309931"/>
              <a:gd name="connsiteX8" fmla="*/ 0 w 1205035"/>
              <a:gd name="connsiteY8" fmla="*/ 158970 h 1309931"/>
              <a:gd name="connsiteX9" fmla="*/ 91788 w 1205035"/>
              <a:gd name="connsiteY9" fmla="*/ 114753 h 1309931"/>
              <a:gd name="connsiteX10" fmla="*/ 660182 w 1205035"/>
              <a:gd name="connsiteY10" fmla="*/ 0 h 1309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05035" h="1309931">
                <a:moveTo>
                  <a:pt x="660182" y="0"/>
                </a:moveTo>
                <a:cubicBezTo>
                  <a:pt x="811396" y="0"/>
                  <a:pt x="957241" y="22984"/>
                  <a:pt x="1094415" y="65650"/>
                </a:cubicBezTo>
                <a:lnTo>
                  <a:pt x="1203839" y="105699"/>
                </a:lnTo>
                <a:lnTo>
                  <a:pt x="1205035" y="129389"/>
                </a:lnTo>
                <a:cubicBezTo>
                  <a:pt x="1205035" y="583030"/>
                  <a:pt x="998177" y="988356"/>
                  <a:pt x="673641" y="1256186"/>
                </a:cubicBezTo>
                <a:lnTo>
                  <a:pt x="601770" y="1309931"/>
                </a:lnTo>
                <a:lnTo>
                  <a:pt x="529900" y="1256187"/>
                </a:lnTo>
                <a:cubicBezTo>
                  <a:pt x="241424" y="1018115"/>
                  <a:pt x="45928" y="671406"/>
                  <a:pt x="6045" y="278692"/>
                </a:cubicBezTo>
                <a:lnTo>
                  <a:pt x="0" y="158970"/>
                </a:lnTo>
                <a:lnTo>
                  <a:pt x="91788" y="114753"/>
                </a:lnTo>
                <a:cubicBezTo>
                  <a:pt x="266490" y="40861"/>
                  <a:pt x="458564" y="0"/>
                  <a:pt x="660182" y="0"/>
                </a:cubicBezTo>
                <a:close/>
              </a:path>
            </a:pathLst>
          </a:custGeom>
          <a:gradFill>
            <a:gsLst>
              <a:gs pos="0">
                <a:srgbClr val="B34768">
                  <a:alpha val="40000"/>
                </a:srgbClr>
              </a:gs>
              <a:gs pos="100000">
                <a:srgbClr val="3E8E86">
                  <a:alpha val="65000"/>
                </a:srgbClr>
              </a:gs>
              <a:gs pos="58000">
                <a:srgbClr val="2B2D78">
                  <a:alpha val="50000"/>
                </a:srgbClr>
              </a:gs>
            </a:gsLst>
            <a:lin ang="162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216000" rtlCol="0" anchor="ctr">
            <a:noAutofit/>
          </a:bodyPr>
          <a:lstStyle/>
          <a:p>
            <a:pPr algn="ctr"/>
            <a:r>
              <a:rPr lang="en-US" sz="2400" dirty="0">
                <a:latin typeface="+mj-lt"/>
              </a:rPr>
              <a:t>PWA</a:t>
            </a:r>
          </a:p>
        </p:txBody>
      </p:sp>
    </p:spTree>
    <p:extLst>
      <p:ext uri="{BB962C8B-B14F-4D97-AF65-F5344CB8AC3E}">
        <p14:creationId xmlns:p14="http://schemas.microsoft.com/office/powerpoint/2010/main" val="32449663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fade">
                                      <p:cBhvr>
                                        <p:cTn id="23" dur="500"/>
                                        <p:tgtEl>
                                          <p:spTgt spid="14"/>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
                                        </p:tgtEl>
                                        <p:attrNameLst>
                                          <p:attrName>style.visibility</p:attrName>
                                        </p:attrNameLst>
                                      </p:cBhvr>
                                      <p:to>
                                        <p:strVal val="visible"/>
                                      </p:to>
                                    </p:set>
                                    <p:animEffect transition="in" filter="fade">
                                      <p:cBhvr>
                                        <p:cTn id="26" dur="500"/>
                                        <p:tgtEl>
                                          <p:spTgt spid="17"/>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Effect transition="in" filter="fade">
                                      <p:cBhvr>
                                        <p:cTn id="3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2" grpId="0"/>
      <p:bldP spid="16" grpId="0"/>
      <p:bldP spid="17" grpId="0"/>
      <p:bldP spid="23"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CC7533-A0F1-054D-BF0E-328DC18C3F60}"/>
              </a:ext>
            </a:extLst>
          </p:cNvPr>
          <p:cNvGraphicFramePr>
            <a:graphicFrameLocks noChangeAspect="1"/>
          </p:cNvGraphicFramePr>
          <p:nvPr>
            <p:custDataLst>
              <p:tags r:id="rId2"/>
            </p:custDataLst>
            <p:extLst>
              <p:ext uri="{D42A27DB-BD31-4B8C-83A1-F6EECF244321}">
                <p14:modId xmlns:p14="http://schemas.microsoft.com/office/powerpoint/2010/main" val="417431581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4981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그림 개체 틀 2"/>
          <p:cNvPicPr>
            <a:picLocks noGrp="1" noChangeAspect="1"/>
          </p:cNvPicPr>
          <p:nvPr>
            <p:ph type="pic" sz="quarter" idx="13"/>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2381" b="2381"/>
          <a:stretch>
            <a:fillRect/>
          </a:stretch>
        </p:blipFill>
        <p:spPr/>
      </p:pic>
      <p:sp>
        <p:nvSpPr>
          <p:cNvPr id="4" name="직사각형 3"/>
          <p:cNvSpPr/>
          <p:nvPr/>
        </p:nvSpPr>
        <p:spPr>
          <a:xfrm>
            <a:off x="0" y="0"/>
            <a:ext cx="12192000" cy="3429000"/>
          </a:xfrm>
          <a:prstGeom prst="rect">
            <a:avLst/>
          </a:prstGeom>
          <a:gradFill>
            <a:gsLst>
              <a:gs pos="0">
                <a:srgbClr val="B34768">
                  <a:alpha val="50000"/>
                </a:srgbClr>
              </a:gs>
              <a:gs pos="100000">
                <a:srgbClr val="3E8E86">
                  <a:alpha val="69804"/>
                </a:srgbClr>
              </a:gs>
              <a:gs pos="50000">
                <a:srgbClr val="2B2D78">
                  <a:alpha val="6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TextBox 4"/>
          <p:cNvSpPr txBox="1"/>
          <p:nvPr/>
        </p:nvSpPr>
        <p:spPr>
          <a:xfrm>
            <a:off x="859094" y="5020214"/>
            <a:ext cx="9949801" cy="830997"/>
          </a:xfrm>
          <a:prstGeom prst="rect">
            <a:avLst/>
          </a:prstGeom>
          <a:noFill/>
        </p:spPr>
        <p:txBody>
          <a:bodyPr wrap="square" rtlCol="0">
            <a:spAutoFit/>
          </a:bodyPr>
          <a:lstStyle/>
          <a:p>
            <a:r>
              <a:rPr lang="en-US" altLang="ko-KR" sz="4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PROGRESSIVE WEBAPP</a:t>
            </a:r>
          </a:p>
        </p:txBody>
      </p:sp>
      <p:cxnSp>
        <p:nvCxnSpPr>
          <p:cNvPr id="8" name="직선 연결선 7"/>
          <p:cNvCxnSpPr/>
          <p:nvPr/>
        </p:nvCxnSpPr>
        <p:spPr>
          <a:xfrm>
            <a:off x="968198" y="-19050"/>
            <a:ext cx="0" cy="4238171"/>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2" name="직선 연결선 11"/>
          <p:cNvCxnSpPr/>
          <p:nvPr/>
        </p:nvCxnSpPr>
        <p:spPr>
          <a:xfrm>
            <a:off x="11140898" y="2619829"/>
            <a:ext cx="0" cy="4238171"/>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0619CF9B-1713-E344-9E0C-98670D2FB782}"/>
              </a:ext>
            </a:extLst>
          </p:cNvPr>
          <p:cNvPicPr>
            <a:picLocks noChangeAspect="1"/>
          </p:cNvPicPr>
          <p:nvPr/>
        </p:nvPicPr>
        <p:blipFill>
          <a:blip r:embed="rId9"/>
          <a:stretch>
            <a:fillRect/>
          </a:stretch>
        </p:blipFill>
        <p:spPr>
          <a:xfrm>
            <a:off x="968198" y="4484834"/>
            <a:ext cx="939883" cy="353660"/>
          </a:xfrm>
          <a:prstGeom prst="rect">
            <a:avLst/>
          </a:prstGeom>
        </p:spPr>
      </p:pic>
    </p:spTree>
    <p:extLst>
      <p:ext uri="{BB962C8B-B14F-4D97-AF65-F5344CB8AC3E}">
        <p14:creationId xmlns:p14="http://schemas.microsoft.com/office/powerpoint/2010/main" val="39418392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E207BCE-13BC-E64D-A8A9-6D452ADB1AF2}"/>
              </a:ext>
            </a:extLst>
          </p:cNvPr>
          <p:cNvGraphicFramePr>
            <a:graphicFrameLocks noChangeAspect="1"/>
          </p:cNvGraphicFramePr>
          <p:nvPr>
            <p:custDataLst>
              <p:tags r:id="rId2"/>
            </p:custDataLst>
            <p:extLst>
              <p:ext uri="{D42A27DB-BD31-4B8C-83A1-F6EECF244321}">
                <p14:modId xmlns:p14="http://schemas.microsoft.com/office/powerpoint/2010/main" val="15175322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50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2" name="Diagram 1">
            <a:extLst>
              <a:ext uri="{FF2B5EF4-FFF2-40B4-BE49-F238E27FC236}">
                <a16:creationId xmlns:a16="http://schemas.microsoft.com/office/drawing/2014/main" id="{7CA8749B-0FB0-442A-B207-E04F0F681506}"/>
              </a:ext>
            </a:extLst>
          </p:cNvPr>
          <p:cNvGraphicFramePr/>
          <p:nvPr>
            <p:extLst>
              <p:ext uri="{D42A27DB-BD31-4B8C-83A1-F6EECF244321}">
                <p14:modId xmlns:p14="http://schemas.microsoft.com/office/powerpoint/2010/main" val="4253069600"/>
              </p:ext>
            </p:extLst>
          </p:nvPr>
        </p:nvGraphicFramePr>
        <p:xfrm>
          <a:off x="1335464" y="255309"/>
          <a:ext cx="9521072" cy="63473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6158821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graphicEl>
                                              <a:dgm id="{E9578D23-E4CA-460C-9F03-DFD4937FFC6B}"/>
                                            </p:graphicEl>
                                          </p:spTgt>
                                        </p:tgtEl>
                                        <p:attrNameLst>
                                          <p:attrName>style.visibility</p:attrName>
                                        </p:attrNameLst>
                                      </p:cBhvr>
                                      <p:to>
                                        <p:strVal val="visible"/>
                                      </p:to>
                                    </p:set>
                                    <p:animEffect transition="in" filter="fade">
                                      <p:cBhvr>
                                        <p:cTn id="7" dur="500"/>
                                        <p:tgtEl>
                                          <p:spTgt spid="2">
                                            <p:graphicEl>
                                              <a:dgm id="{E9578D23-E4CA-460C-9F03-DFD4937FFC6B}"/>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graphicEl>
                                              <a:dgm id="{71A714F8-BF97-41CD-BFA3-0B1D819FDDC3}"/>
                                            </p:graphicEl>
                                          </p:spTgt>
                                        </p:tgtEl>
                                        <p:attrNameLst>
                                          <p:attrName>style.visibility</p:attrName>
                                        </p:attrNameLst>
                                      </p:cBhvr>
                                      <p:to>
                                        <p:strVal val="visible"/>
                                      </p:to>
                                    </p:set>
                                    <p:animEffect transition="in" filter="fade">
                                      <p:cBhvr>
                                        <p:cTn id="12" dur="500"/>
                                        <p:tgtEl>
                                          <p:spTgt spid="2">
                                            <p:graphicEl>
                                              <a:dgm id="{71A714F8-BF97-41CD-BFA3-0B1D819FDDC3}"/>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graphicEl>
                                              <a:dgm id="{AED24801-9CB8-4576-8EB2-C4964A5B9EE9}"/>
                                            </p:graphicEl>
                                          </p:spTgt>
                                        </p:tgtEl>
                                        <p:attrNameLst>
                                          <p:attrName>style.visibility</p:attrName>
                                        </p:attrNameLst>
                                      </p:cBhvr>
                                      <p:to>
                                        <p:strVal val="visible"/>
                                      </p:to>
                                    </p:set>
                                    <p:animEffect transition="in" filter="fade">
                                      <p:cBhvr>
                                        <p:cTn id="17" dur="500"/>
                                        <p:tgtEl>
                                          <p:spTgt spid="2">
                                            <p:graphicEl>
                                              <a:dgm id="{AED24801-9CB8-4576-8EB2-C4964A5B9EE9}"/>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graphicEl>
                                              <a:dgm id="{C3DF1F0E-3768-4D0E-B06B-9DCE7C3489F7}"/>
                                            </p:graphicEl>
                                          </p:spTgt>
                                        </p:tgtEl>
                                        <p:attrNameLst>
                                          <p:attrName>style.visibility</p:attrName>
                                        </p:attrNameLst>
                                      </p:cBhvr>
                                      <p:to>
                                        <p:strVal val="visible"/>
                                      </p:to>
                                    </p:set>
                                    <p:animEffect transition="in" filter="fade">
                                      <p:cBhvr>
                                        <p:cTn id="22" dur="500"/>
                                        <p:tgtEl>
                                          <p:spTgt spid="2">
                                            <p:graphicEl>
                                              <a:dgm id="{C3DF1F0E-3768-4D0E-B06B-9DCE7C3489F7}"/>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4DF90E-9C2D-7540-991D-62C8A4BEDC49}"/>
              </a:ext>
            </a:extLst>
          </p:cNvPr>
          <p:cNvGraphicFramePr>
            <a:graphicFrameLocks noChangeAspect="1"/>
          </p:cNvGraphicFramePr>
          <p:nvPr>
            <p:custDataLst>
              <p:tags r:id="rId2"/>
            </p:custDataLst>
            <p:extLst>
              <p:ext uri="{D42A27DB-BD31-4B8C-83A1-F6EECF244321}">
                <p14:modId xmlns:p14="http://schemas.microsoft.com/office/powerpoint/2010/main" val="5574112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084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8" name="그림 개체 틀 7"/>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20347" r="20347"/>
          <a:stretch>
            <a:fillRect/>
          </a:stretch>
        </p:blipFill>
        <p:spPr/>
      </p:pic>
      <p:sp>
        <p:nvSpPr>
          <p:cNvPr id="4" name="직사각형 3"/>
          <p:cNvSpPr/>
          <p:nvPr/>
        </p:nvSpPr>
        <p:spPr>
          <a:xfrm>
            <a:off x="6096000" y="0"/>
            <a:ext cx="6096000" cy="6858000"/>
          </a:xfrm>
          <a:prstGeom prst="rect">
            <a:avLst/>
          </a:prstGeom>
          <a:gradFill>
            <a:gsLst>
              <a:gs pos="0">
                <a:srgbClr val="B34768">
                  <a:alpha val="50000"/>
                </a:srgbClr>
              </a:gs>
              <a:gs pos="100000">
                <a:srgbClr val="3E8E86">
                  <a:alpha val="50000"/>
                </a:srgbClr>
              </a:gs>
              <a:gs pos="50000">
                <a:srgbClr val="2B2D78">
                  <a:alpha val="6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타원 9"/>
          <p:cNvSpPr/>
          <p:nvPr/>
        </p:nvSpPr>
        <p:spPr>
          <a:xfrm>
            <a:off x="3963307" y="1278165"/>
            <a:ext cx="4265386" cy="4265386"/>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TextBox 10"/>
          <p:cNvSpPr txBox="1"/>
          <p:nvPr/>
        </p:nvSpPr>
        <p:spPr>
          <a:xfrm>
            <a:off x="4481260" y="3136612"/>
            <a:ext cx="3229479" cy="584775"/>
          </a:xfrm>
          <a:prstGeom prst="rect">
            <a:avLst/>
          </a:prstGeom>
          <a:noFill/>
        </p:spPr>
        <p:txBody>
          <a:bodyPr wrap="square" rtlCol="0">
            <a:spAutoFit/>
          </a:bodyPr>
          <a:lstStyle/>
          <a:p>
            <a:pPr algn="ctr"/>
            <a:r>
              <a:rPr lang="en-US" altLang="ko-KR" sz="32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SPEED</a:t>
            </a:r>
          </a:p>
        </p:txBody>
      </p:sp>
    </p:spTree>
    <p:extLst>
      <p:ext uri="{BB962C8B-B14F-4D97-AF65-F5344CB8AC3E}">
        <p14:creationId xmlns:p14="http://schemas.microsoft.com/office/powerpoint/2010/main" val="24099534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34C7F-6EF2-B04D-9765-78180F763240}"/>
              </a:ext>
            </a:extLst>
          </p:cNvPr>
          <p:cNvGraphicFramePr>
            <a:graphicFrameLocks noChangeAspect="1"/>
          </p:cNvGraphicFramePr>
          <p:nvPr>
            <p:custDataLst>
              <p:tags r:id="rId2"/>
            </p:custDataLst>
            <p:extLst>
              <p:ext uri="{D42A27DB-BD31-4B8C-83A1-F6EECF244321}">
                <p14:modId xmlns:p14="http://schemas.microsoft.com/office/powerpoint/2010/main" val="31060322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186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21" name="Group 20">
            <a:extLst>
              <a:ext uri="{FF2B5EF4-FFF2-40B4-BE49-F238E27FC236}">
                <a16:creationId xmlns:a16="http://schemas.microsoft.com/office/drawing/2014/main" id="{2B834661-84D9-455C-B3D3-683E6CBADA10}"/>
              </a:ext>
            </a:extLst>
          </p:cNvPr>
          <p:cNvGrpSpPr/>
          <p:nvPr/>
        </p:nvGrpSpPr>
        <p:grpSpPr>
          <a:xfrm>
            <a:off x="1516144" y="1729483"/>
            <a:ext cx="9144000" cy="1614130"/>
            <a:chOff x="1819373" y="2075379"/>
            <a:chExt cx="10972800" cy="1936956"/>
          </a:xfrm>
        </p:grpSpPr>
        <p:sp>
          <p:nvSpPr>
            <p:cNvPr id="5" name="TextBox 4">
              <a:extLst>
                <a:ext uri="{FF2B5EF4-FFF2-40B4-BE49-F238E27FC236}">
                  <a16:creationId xmlns:a16="http://schemas.microsoft.com/office/drawing/2014/main" id="{6F6E9328-0A5C-4663-A110-03D36C12C8B4}"/>
                </a:ext>
              </a:extLst>
            </p:cNvPr>
            <p:cNvSpPr txBox="1"/>
            <p:nvPr/>
          </p:nvSpPr>
          <p:spPr>
            <a:xfrm>
              <a:off x="6792765" y="2075379"/>
              <a:ext cx="5528634" cy="1399628"/>
            </a:xfrm>
            <a:prstGeom prst="rect">
              <a:avLst/>
            </a:prstGeom>
            <a:noFill/>
          </p:spPr>
          <p:txBody>
            <a:bodyPr wrap="square" lIns="152400" tIns="0" rIns="0" bIns="0" rtlCol="0" anchor="ctr" anchorCtr="0">
              <a:noAutofit/>
            </a:bodyPr>
            <a:lstStyle/>
            <a:p>
              <a:pPr algn="r"/>
              <a:r>
                <a:rPr lang="en-US" sz="6666" dirty="0">
                  <a:solidFill>
                    <a:schemeClr val="bg1"/>
                  </a:solidFill>
                  <a:latin typeface="+mj-lt"/>
                  <a:cs typeface="Dubai Light" panose="020B0303030403030204" pitchFamily="34" charset="-78"/>
                </a:rPr>
                <a:t>27.4 </a:t>
              </a:r>
              <a:r>
                <a:rPr lang="en-US" sz="4000" dirty="0">
                  <a:solidFill>
                    <a:schemeClr val="bg1"/>
                  </a:solidFill>
                  <a:latin typeface="+mj-lt"/>
                  <a:cs typeface="Dubai Light" panose="020B0303030403030204" pitchFamily="34" charset="-78"/>
                </a:rPr>
                <a:t>s</a:t>
              </a:r>
            </a:p>
          </p:txBody>
        </p:sp>
        <p:grpSp>
          <p:nvGrpSpPr>
            <p:cNvPr id="3" name="Group 2">
              <a:extLst>
                <a:ext uri="{FF2B5EF4-FFF2-40B4-BE49-F238E27FC236}">
                  <a16:creationId xmlns:a16="http://schemas.microsoft.com/office/drawing/2014/main" id="{230879D0-353C-43DB-88FA-A73EF4C4F971}"/>
                </a:ext>
              </a:extLst>
            </p:cNvPr>
            <p:cNvGrpSpPr/>
            <p:nvPr/>
          </p:nvGrpSpPr>
          <p:grpSpPr>
            <a:xfrm>
              <a:off x="1819373" y="3277043"/>
              <a:ext cx="10972800" cy="735292"/>
              <a:chOff x="1819372" y="2309567"/>
              <a:chExt cx="10972800" cy="735292"/>
            </a:xfrm>
          </p:grpSpPr>
          <p:sp>
            <p:nvSpPr>
              <p:cNvPr id="2" name="Rectangle 1">
                <a:extLst>
                  <a:ext uri="{FF2B5EF4-FFF2-40B4-BE49-F238E27FC236}">
                    <a16:creationId xmlns:a16="http://schemas.microsoft.com/office/drawing/2014/main" id="{4F8056FA-F3CB-458C-9A86-74F9E1DCBEA2}"/>
                  </a:ext>
                </a:extLst>
              </p:cNvPr>
              <p:cNvSpPr/>
              <p:nvPr/>
            </p:nvSpPr>
            <p:spPr>
              <a:xfrm>
                <a:off x="1819372" y="2309567"/>
                <a:ext cx="10972800" cy="73529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mj-lt"/>
                </a:endParaRPr>
              </a:p>
            </p:txBody>
          </p:sp>
          <p:sp>
            <p:nvSpPr>
              <p:cNvPr id="10" name="Rectangle 9">
                <a:extLst>
                  <a:ext uri="{FF2B5EF4-FFF2-40B4-BE49-F238E27FC236}">
                    <a16:creationId xmlns:a16="http://schemas.microsoft.com/office/drawing/2014/main" id="{8D899936-0DA4-42FD-B6F6-18B96E00A425}"/>
                  </a:ext>
                </a:extLst>
              </p:cNvPr>
              <p:cNvSpPr/>
              <p:nvPr/>
            </p:nvSpPr>
            <p:spPr>
              <a:xfrm>
                <a:off x="1828801" y="2309567"/>
                <a:ext cx="10021824" cy="735292"/>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mj-lt"/>
                </a:endParaRPr>
              </a:p>
            </p:txBody>
          </p:sp>
        </p:grpSp>
        <p:sp>
          <p:nvSpPr>
            <p:cNvPr id="6" name="TextBox 5">
              <a:extLst>
                <a:ext uri="{FF2B5EF4-FFF2-40B4-BE49-F238E27FC236}">
                  <a16:creationId xmlns:a16="http://schemas.microsoft.com/office/drawing/2014/main" id="{1ED7CF17-AEDD-4C44-9D41-7D40F53AEB76}"/>
                </a:ext>
              </a:extLst>
            </p:cNvPr>
            <p:cNvSpPr txBox="1"/>
            <p:nvPr/>
          </p:nvSpPr>
          <p:spPr>
            <a:xfrm>
              <a:off x="6386659" y="3350687"/>
              <a:ext cx="1857083" cy="635081"/>
            </a:xfrm>
            <a:prstGeom prst="rect">
              <a:avLst/>
            </a:prstGeom>
            <a:noFill/>
          </p:spPr>
          <p:txBody>
            <a:bodyPr wrap="square" lIns="152400" tIns="0" rIns="0" bIns="0" rtlCol="0" anchor="ctr" anchorCtr="0">
              <a:noAutofit/>
            </a:bodyPr>
            <a:lstStyle/>
            <a:p>
              <a:pPr algn="ctr"/>
              <a:r>
                <a:rPr lang="en-US" sz="2667" b="1" dirty="0">
                  <a:solidFill>
                    <a:schemeClr val="bg1"/>
                  </a:solidFill>
                  <a:latin typeface="+mj-lt"/>
                  <a:cs typeface="Dubai" panose="020B0503030403030204" pitchFamily="34" charset="-78"/>
                </a:rPr>
                <a:t>Mobile</a:t>
              </a:r>
              <a:endParaRPr lang="en-US" sz="1333" b="1" dirty="0">
                <a:solidFill>
                  <a:schemeClr val="bg1"/>
                </a:solidFill>
                <a:latin typeface="+mj-lt"/>
                <a:cs typeface="Dubai" panose="020B0503030403030204" pitchFamily="34" charset="-78"/>
              </a:endParaRPr>
            </a:p>
          </p:txBody>
        </p:sp>
      </p:grpSp>
      <p:grpSp>
        <p:nvGrpSpPr>
          <p:cNvPr id="18" name="Group 17">
            <a:extLst>
              <a:ext uri="{FF2B5EF4-FFF2-40B4-BE49-F238E27FC236}">
                <a16:creationId xmlns:a16="http://schemas.microsoft.com/office/drawing/2014/main" id="{407DBA0A-7794-47C8-9D86-BD0F3A0A3B2A}"/>
              </a:ext>
            </a:extLst>
          </p:cNvPr>
          <p:cNvGrpSpPr/>
          <p:nvPr/>
        </p:nvGrpSpPr>
        <p:grpSpPr>
          <a:xfrm>
            <a:off x="1516144" y="4007628"/>
            <a:ext cx="9144000" cy="1606274"/>
            <a:chOff x="1819373" y="4809153"/>
            <a:chExt cx="10972800" cy="1927529"/>
          </a:xfrm>
        </p:grpSpPr>
        <p:grpSp>
          <p:nvGrpSpPr>
            <p:cNvPr id="12" name="Group 11">
              <a:extLst>
                <a:ext uri="{FF2B5EF4-FFF2-40B4-BE49-F238E27FC236}">
                  <a16:creationId xmlns:a16="http://schemas.microsoft.com/office/drawing/2014/main" id="{15D107C2-45D9-495C-91EE-EF56311E1E1C}"/>
                </a:ext>
              </a:extLst>
            </p:cNvPr>
            <p:cNvGrpSpPr/>
            <p:nvPr/>
          </p:nvGrpSpPr>
          <p:grpSpPr>
            <a:xfrm>
              <a:off x="1819373" y="6001390"/>
              <a:ext cx="10972800" cy="735292"/>
              <a:chOff x="1819372" y="2309566"/>
              <a:chExt cx="10972800" cy="735292"/>
            </a:xfrm>
          </p:grpSpPr>
          <p:sp>
            <p:nvSpPr>
              <p:cNvPr id="13" name="Rectangle 12">
                <a:extLst>
                  <a:ext uri="{FF2B5EF4-FFF2-40B4-BE49-F238E27FC236}">
                    <a16:creationId xmlns:a16="http://schemas.microsoft.com/office/drawing/2014/main" id="{FD9946A1-EF0C-4F57-92C6-F540779BFE7C}"/>
                  </a:ext>
                </a:extLst>
              </p:cNvPr>
              <p:cNvSpPr/>
              <p:nvPr/>
            </p:nvSpPr>
            <p:spPr>
              <a:xfrm>
                <a:off x="1819372" y="2309567"/>
                <a:ext cx="10972800" cy="735291"/>
              </a:xfrm>
              <a:prstGeom prst="rect">
                <a:avLst/>
              </a:prstGeom>
              <a:no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mj-lt"/>
                </a:endParaRPr>
              </a:p>
            </p:txBody>
          </p:sp>
          <p:sp>
            <p:nvSpPr>
              <p:cNvPr id="14" name="Rectangle 13">
                <a:extLst>
                  <a:ext uri="{FF2B5EF4-FFF2-40B4-BE49-F238E27FC236}">
                    <a16:creationId xmlns:a16="http://schemas.microsoft.com/office/drawing/2014/main" id="{B2E509C6-642E-452D-939E-478B5C08ADB0}"/>
                  </a:ext>
                </a:extLst>
              </p:cNvPr>
              <p:cNvSpPr/>
              <p:nvPr/>
            </p:nvSpPr>
            <p:spPr>
              <a:xfrm>
                <a:off x="1828800" y="2309566"/>
                <a:ext cx="3803904" cy="735291"/>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latin typeface="+mj-lt"/>
                </a:endParaRPr>
              </a:p>
            </p:txBody>
          </p:sp>
        </p:grpSp>
        <p:sp>
          <p:nvSpPr>
            <p:cNvPr id="8" name="TextBox 7">
              <a:extLst>
                <a:ext uri="{FF2B5EF4-FFF2-40B4-BE49-F238E27FC236}">
                  <a16:creationId xmlns:a16="http://schemas.microsoft.com/office/drawing/2014/main" id="{3EC48E57-AFA8-4FB8-9E43-1BC077A66285}"/>
                </a:ext>
              </a:extLst>
            </p:cNvPr>
            <p:cNvSpPr txBox="1"/>
            <p:nvPr/>
          </p:nvSpPr>
          <p:spPr>
            <a:xfrm>
              <a:off x="6773438" y="4809153"/>
              <a:ext cx="5528634" cy="1399628"/>
            </a:xfrm>
            <a:prstGeom prst="rect">
              <a:avLst/>
            </a:prstGeom>
            <a:noFill/>
          </p:spPr>
          <p:txBody>
            <a:bodyPr wrap="square" lIns="152400" tIns="0" rIns="0" bIns="0" rtlCol="0" anchor="ctr" anchorCtr="0">
              <a:noAutofit/>
            </a:bodyPr>
            <a:lstStyle/>
            <a:p>
              <a:pPr algn="r"/>
              <a:r>
                <a:rPr lang="en-US" sz="6666" dirty="0">
                  <a:solidFill>
                    <a:schemeClr val="bg1"/>
                  </a:solidFill>
                  <a:latin typeface="+mj-lt"/>
                  <a:cs typeface="Dubai Light" panose="020B0303030403030204" pitchFamily="34" charset="-78"/>
                </a:rPr>
                <a:t>10.4 </a:t>
              </a:r>
              <a:r>
                <a:rPr lang="en-US" sz="4000" dirty="0">
                  <a:solidFill>
                    <a:schemeClr val="bg1"/>
                  </a:solidFill>
                  <a:latin typeface="+mj-lt"/>
                  <a:cs typeface="Dubai Light" panose="020B0303030403030204" pitchFamily="34" charset="-78"/>
                </a:rPr>
                <a:t>S</a:t>
              </a:r>
            </a:p>
          </p:txBody>
        </p:sp>
        <p:sp>
          <p:nvSpPr>
            <p:cNvPr id="19" name="TextBox 18">
              <a:extLst>
                <a:ext uri="{FF2B5EF4-FFF2-40B4-BE49-F238E27FC236}">
                  <a16:creationId xmlns:a16="http://schemas.microsoft.com/office/drawing/2014/main" id="{845ECFBC-53FD-4D5E-901C-72C38F5C051F}"/>
                </a:ext>
              </a:extLst>
            </p:cNvPr>
            <p:cNvSpPr txBox="1"/>
            <p:nvPr/>
          </p:nvSpPr>
          <p:spPr>
            <a:xfrm>
              <a:off x="6386659" y="6051494"/>
              <a:ext cx="2611038" cy="635081"/>
            </a:xfrm>
            <a:prstGeom prst="rect">
              <a:avLst/>
            </a:prstGeom>
            <a:noFill/>
          </p:spPr>
          <p:txBody>
            <a:bodyPr wrap="square" lIns="152400" tIns="0" rIns="0" bIns="0" rtlCol="0" anchor="ctr" anchorCtr="0">
              <a:noAutofit/>
            </a:bodyPr>
            <a:lstStyle/>
            <a:p>
              <a:pPr algn="ctr"/>
              <a:r>
                <a:rPr lang="en-US" sz="2667" b="1" dirty="0">
                  <a:solidFill>
                    <a:schemeClr val="bg1"/>
                  </a:solidFill>
                  <a:latin typeface="+mj-lt"/>
                  <a:cs typeface="Dubai" panose="020B0503030403030204" pitchFamily="34" charset="-78"/>
                </a:rPr>
                <a:t>Desktop</a:t>
              </a:r>
              <a:endParaRPr lang="en-US" sz="1333" b="1" dirty="0">
                <a:solidFill>
                  <a:schemeClr val="bg1"/>
                </a:solidFill>
                <a:latin typeface="+mj-lt"/>
                <a:cs typeface="Dubai" panose="020B0503030403030204" pitchFamily="34" charset="-78"/>
              </a:endParaRPr>
            </a:p>
          </p:txBody>
        </p:sp>
      </p:grpSp>
      <p:grpSp>
        <p:nvGrpSpPr>
          <p:cNvPr id="22" name="Group 21">
            <a:extLst>
              <a:ext uri="{FF2B5EF4-FFF2-40B4-BE49-F238E27FC236}">
                <a16:creationId xmlns:a16="http://schemas.microsoft.com/office/drawing/2014/main" id="{EBB130B0-FE73-4527-9907-734A1D4C3E82}"/>
              </a:ext>
            </a:extLst>
          </p:cNvPr>
          <p:cNvGrpSpPr/>
          <p:nvPr/>
        </p:nvGrpSpPr>
        <p:grpSpPr>
          <a:xfrm>
            <a:off x="1516143" y="329947"/>
            <a:ext cx="9144002" cy="6004628"/>
            <a:chOff x="1819371" y="395935"/>
            <a:chExt cx="10972802" cy="7205553"/>
          </a:xfrm>
        </p:grpSpPr>
        <p:grpSp>
          <p:nvGrpSpPr>
            <p:cNvPr id="15" name="Group 14">
              <a:extLst>
                <a:ext uri="{FF2B5EF4-FFF2-40B4-BE49-F238E27FC236}">
                  <a16:creationId xmlns:a16="http://schemas.microsoft.com/office/drawing/2014/main" id="{26A9EBF4-44BD-4FFD-834B-E99251C56E31}"/>
                </a:ext>
              </a:extLst>
            </p:cNvPr>
            <p:cNvGrpSpPr/>
            <p:nvPr/>
          </p:nvGrpSpPr>
          <p:grpSpPr>
            <a:xfrm>
              <a:off x="1819371" y="395935"/>
              <a:ext cx="10972802" cy="7205553"/>
              <a:chOff x="1819370" y="2309567"/>
              <a:chExt cx="10972802" cy="735291"/>
            </a:xfrm>
          </p:grpSpPr>
          <p:sp>
            <p:nvSpPr>
              <p:cNvPr id="16" name="Rectangle 15">
                <a:extLst>
                  <a:ext uri="{FF2B5EF4-FFF2-40B4-BE49-F238E27FC236}">
                    <a16:creationId xmlns:a16="http://schemas.microsoft.com/office/drawing/2014/main" id="{64B1B78D-6F59-4364-9E97-AE37EC25F28F}"/>
                  </a:ext>
                </a:extLst>
              </p:cNvPr>
              <p:cNvSpPr/>
              <p:nvPr/>
            </p:nvSpPr>
            <p:spPr>
              <a:xfrm>
                <a:off x="1819372" y="2309567"/>
                <a:ext cx="10972800" cy="735291"/>
              </a:xfrm>
              <a:prstGeom prst="rect">
                <a:avLst/>
              </a:prstGeom>
              <a:noFill/>
              <a:ln w="317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17" name="Rectangle 16">
                <a:extLst>
                  <a:ext uri="{FF2B5EF4-FFF2-40B4-BE49-F238E27FC236}">
                    <a16:creationId xmlns:a16="http://schemas.microsoft.com/office/drawing/2014/main" id="{8252914D-6501-417D-A707-7A1C547022A3}"/>
                  </a:ext>
                </a:extLst>
              </p:cNvPr>
              <p:cNvSpPr/>
              <p:nvPr/>
            </p:nvSpPr>
            <p:spPr>
              <a:xfrm>
                <a:off x="1819370" y="2309567"/>
                <a:ext cx="1097280" cy="735291"/>
              </a:xfrm>
              <a:prstGeom prst="rect">
                <a:avLst/>
              </a:prstGeom>
              <a:gradFill>
                <a:gsLst>
                  <a:gs pos="0">
                    <a:srgbClr val="B34768">
                      <a:alpha val="50000"/>
                    </a:srgbClr>
                  </a:gs>
                  <a:gs pos="100000">
                    <a:srgbClr val="3E8E86">
                      <a:alpha val="69804"/>
                    </a:srgbClr>
                  </a:gs>
                  <a:gs pos="50000">
                    <a:srgbClr val="2B2D78">
                      <a:alpha val="65000"/>
                    </a:srgbClr>
                  </a:gs>
                </a:gsLst>
                <a:lin ang="5400000" scaled="1"/>
              </a:gra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
          <p:nvSpPr>
            <p:cNvPr id="20" name="TextBox 19">
              <a:extLst>
                <a:ext uri="{FF2B5EF4-FFF2-40B4-BE49-F238E27FC236}">
                  <a16:creationId xmlns:a16="http://schemas.microsoft.com/office/drawing/2014/main" id="{8AC7757F-13FB-456C-8A40-1452457F33FB}"/>
                </a:ext>
              </a:extLst>
            </p:cNvPr>
            <p:cNvSpPr txBox="1"/>
            <p:nvPr/>
          </p:nvSpPr>
          <p:spPr>
            <a:xfrm>
              <a:off x="3330976" y="857837"/>
              <a:ext cx="3442461" cy="635081"/>
            </a:xfrm>
            <a:prstGeom prst="rect">
              <a:avLst/>
            </a:prstGeom>
            <a:noFill/>
          </p:spPr>
          <p:txBody>
            <a:bodyPr wrap="square" lIns="152400" tIns="0" rIns="0" bIns="0" rtlCol="0" anchor="ctr" anchorCtr="0">
              <a:noAutofit/>
            </a:bodyPr>
            <a:lstStyle/>
            <a:p>
              <a:pPr algn="ctr"/>
              <a:r>
                <a:rPr lang="en-US" b="1" dirty="0">
                  <a:solidFill>
                    <a:schemeClr val="bg1"/>
                  </a:solidFill>
                  <a:latin typeface="+mj-lt"/>
                  <a:cs typeface="Dubai" panose="020B0503030403030204" pitchFamily="34" charset="-78"/>
                </a:rPr>
                <a:t>53% Visitors</a:t>
              </a:r>
              <a:endParaRPr lang="en-US" sz="1050" b="1" dirty="0">
                <a:solidFill>
                  <a:schemeClr val="bg1"/>
                </a:solidFill>
                <a:latin typeface="+mj-lt"/>
                <a:cs typeface="Dubai" panose="020B0503030403030204" pitchFamily="34" charset="-78"/>
              </a:endParaRPr>
            </a:p>
          </p:txBody>
        </p:sp>
        <p:sp>
          <p:nvSpPr>
            <p:cNvPr id="23" name="TextBox 22">
              <a:extLst>
                <a:ext uri="{FF2B5EF4-FFF2-40B4-BE49-F238E27FC236}">
                  <a16:creationId xmlns:a16="http://schemas.microsoft.com/office/drawing/2014/main" id="{CDC3D397-F3AA-46F5-902E-001BC5500178}"/>
                </a:ext>
              </a:extLst>
            </p:cNvPr>
            <p:cNvSpPr txBox="1"/>
            <p:nvPr/>
          </p:nvSpPr>
          <p:spPr>
            <a:xfrm>
              <a:off x="3084575" y="1276582"/>
              <a:ext cx="3688862" cy="1399628"/>
            </a:xfrm>
            <a:prstGeom prst="rect">
              <a:avLst/>
            </a:prstGeom>
            <a:noFill/>
          </p:spPr>
          <p:txBody>
            <a:bodyPr wrap="square" lIns="152400" tIns="0" rIns="0" bIns="0" rtlCol="0" anchor="ctr" anchorCtr="0">
              <a:noAutofit/>
            </a:bodyPr>
            <a:lstStyle/>
            <a:p>
              <a:pPr algn="r"/>
              <a:r>
                <a:rPr lang="en-US" sz="6666" dirty="0">
                  <a:solidFill>
                    <a:schemeClr val="bg1"/>
                  </a:solidFill>
                  <a:latin typeface="+mj-lt"/>
                  <a:cs typeface="Dubai Light" panose="020B0303030403030204" pitchFamily="34" charset="-78"/>
                </a:rPr>
                <a:t>3 </a:t>
              </a:r>
              <a:r>
                <a:rPr lang="en-US" sz="4000" dirty="0">
                  <a:solidFill>
                    <a:schemeClr val="bg1"/>
                  </a:solidFill>
                  <a:latin typeface="+mj-lt"/>
                  <a:cs typeface="Dubai Light" panose="020B0303030403030204" pitchFamily="34" charset="-78"/>
                </a:rPr>
                <a:t>seconds</a:t>
              </a:r>
            </a:p>
          </p:txBody>
        </p:sp>
      </p:grpSp>
    </p:spTree>
    <p:extLst>
      <p:ext uri="{BB962C8B-B14F-4D97-AF65-F5344CB8AC3E}">
        <p14:creationId xmlns:p14="http://schemas.microsoft.com/office/powerpoint/2010/main" val="30419461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83FB685-A87F-3D47-84FE-2BFFA468FB68}"/>
              </a:ext>
            </a:extLst>
          </p:cNvPr>
          <p:cNvGraphicFramePr>
            <a:graphicFrameLocks noChangeAspect="1"/>
          </p:cNvGraphicFramePr>
          <p:nvPr>
            <p:custDataLst>
              <p:tags r:id="rId2"/>
            </p:custDataLst>
            <p:extLst>
              <p:ext uri="{D42A27DB-BD31-4B8C-83A1-F6EECF244321}">
                <p14:modId xmlns:p14="http://schemas.microsoft.com/office/powerpoint/2010/main" val="4644302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289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F14F0C84-9700-4704-BE61-AFA0673C86F0}"/>
              </a:ext>
            </a:extLst>
          </p:cNvPr>
          <p:cNvPicPr>
            <a:picLocks noChangeAspect="1"/>
          </p:cNvPicPr>
          <p:nvPr/>
        </p:nvPicPr>
        <p:blipFill>
          <a:blip r:embed="rId7"/>
          <a:stretch>
            <a:fillRect/>
          </a:stretch>
        </p:blipFill>
        <p:spPr>
          <a:xfrm>
            <a:off x="0" y="0"/>
            <a:ext cx="12192000" cy="6858000"/>
          </a:xfrm>
          <a:prstGeom prst="rect">
            <a:avLst/>
          </a:prstGeom>
        </p:spPr>
      </p:pic>
      <p:pic>
        <p:nvPicPr>
          <p:cNvPr id="3" name="Picture 2">
            <a:extLst>
              <a:ext uri="{FF2B5EF4-FFF2-40B4-BE49-F238E27FC236}">
                <a16:creationId xmlns:a16="http://schemas.microsoft.com/office/drawing/2014/main" id="{9EC7E95D-A57B-4F0D-8CD9-237729976955}"/>
              </a:ext>
            </a:extLst>
          </p:cNvPr>
          <p:cNvPicPr>
            <a:picLocks noChangeAspect="1"/>
          </p:cNvPicPr>
          <p:nvPr/>
        </p:nvPicPr>
        <p:blipFill rotWithShape="1">
          <a:blip r:embed="rId8"/>
          <a:srcRect l="19655" t="35429" r="21464" b="3606"/>
          <a:stretch/>
        </p:blipFill>
        <p:spPr>
          <a:xfrm>
            <a:off x="2396289" y="3429001"/>
            <a:ext cx="7178843" cy="4180974"/>
          </a:xfrm>
          <a:prstGeom prst="rect">
            <a:avLst/>
          </a:prstGeom>
        </p:spPr>
      </p:pic>
      <p:sp>
        <p:nvSpPr>
          <p:cNvPr id="4" name="Rectangle 3">
            <a:extLst>
              <a:ext uri="{FF2B5EF4-FFF2-40B4-BE49-F238E27FC236}">
                <a16:creationId xmlns:a16="http://schemas.microsoft.com/office/drawing/2014/main" id="{C93C423F-09D8-4159-8FA7-56AD1804AD8D}"/>
              </a:ext>
            </a:extLst>
          </p:cNvPr>
          <p:cNvSpPr/>
          <p:nvPr/>
        </p:nvSpPr>
        <p:spPr>
          <a:xfrm>
            <a:off x="0" y="3358816"/>
            <a:ext cx="2526632" cy="310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6" name="Rectangle 5">
            <a:extLst>
              <a:ext uri="{FF2B5EF4-FFF2-40B4-BE49-F238E27FC236}">
                <a16:creationId xmlns:a16="http://schemas.microsoft.com/office/drawing/2014/main" id="{8BF4A923-D247-4A8C-B19A-7C29DBDAFBA4}"/>
              </a:ext>
            </a:extLst>
          </p:cNvPr>
          <p:cNvSpPr/>
          <p:nvPr/>
        </p:nvSpPr>
        <p:spPr>
          <a:xfrm>
            <a:off x="9444787" y="3358816"/>
            <a:ext cx="2617921" cy="310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pic>
        <p:nvPicPr>
          <p:cNvPr id="5" name="Picture 4">
            <a:extLst>
              <a:ext uri="{FF2B5EF4-FFF2-40B4-BE49-F238E27FC236}">
                <a16:creationId xmlns:a16="http://schemas.microsoft.com/office/drawing/2014/main" id="{5306D7EE-1044-46DD-8CD4-15A43444AE0B}"/>
              </a:ext>
            </a:extLst>
          </p:cNvPr>
          <p:cNvPicPr>
            <a:picLocks noChangeAspect="1"/>
          </p:cNvPicPr>
          <p:nvPr/>
        </p:nvPicPr>
        <p:blipFill rotWithShape="1">
          <a:blip r:embed="rId9"/>
          <a:srcRect l="20724" t="50574" r="21464" b="26813"/>
          <a:stretch/>
        </p:blipFill>
        <p:spPr>
          <a:xfrm>
            <a:off x="2526632" y="4094407"/>
            <a:ext cx="7048499" cy="1550832"/>
          </a:xfrm>
          <a:prstGeom prst="rect">
            <a:avLst/>
          </a:prstGeom>
        </p:spPr>
      </p:pic>
    </p:spTree>
    <p:extLst>
      <p:ext uri="{BB962C8B-B14F-4D97-AF65-F5344CB8AC3E}">
        <p14:creationId xmlns:p14="http://schemas.microsoft.com/office/powerpoint/2010/main" val="9135492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8AACF66-7C8C-2B41-BDD4-65B74070378F}"/>
              </a:ext>
            </a:extLst>
          </p:cNvPr>
          <p:cNvGraphicFramePr>
            <a:graphicFrameLocks noChangeAspect="1"/>
          </p:cNvGraphicFramePr>
          <p:nvPr>
            <p:custDataLst>
              <p:tags r:id="rId2"/>
            </p:custDataLst>
            <p:extLst>
              <p:ext uri="{D42A27DB-BD31-4B8C-83A1-F6EECF244321}">
                <p14:modId xmlns:p14="http://schemas.microsoft.com/office/powerpoint/2010/main" val="197773664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391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D735CD3-BE52-44FB-9757-169C483D736E}"/>
              </a:ext>
            </a:extLst>
          </p:cNvPr>
          <p:cNvPicPr>
            <a:picLocks noChangeAspect="1"/>
          </p:cNvPicPr>
          <p:nvPr/>
        </p:nvPicPr>
        <p:blipFill>
          <a:blip r:embed="rId7"/>
          <a:stretch>
            <a:fillRect/>
          </a:stretch>
        </p:blipFill>
        <p:spPr>
          <a:xfrm>
            <a:off x="0" y="55659"/>
            <a:ext cx="12192000" cy="6858000"/>
          </a:xfrm>
          <a:prstGeom prst="rect">
            <a:avLst/>
          </a:prstGeom>
        </p:spPr>
      </p:pic>
      <p:sp>
        <p:nvSpPr>
          <p:cNvPr id="4" name="Rectangle 3">
            <a:extLst>
              <a:ext uri="{FF2B5EF4-FFF2-40B4-BE49-F238E27FC236}">
                <a16:creationId xmlns:a16="http://schemas.microsoft.com/office/drawing/2014/main" id="{C93C423F-09D8-4159-8FA7-56AD1804AD8D}"/>
              </a:ext>
            </a:extLst>
          </p:cNvPr>
          <p:cNvSpPr/>
          <p:nvPr/>
        </p:nvSpPr>
        <p:spPr>
          <a:xfrm>
            <a:off x="0" y="3358816"/>
            <a:ext cx="2526632" cy="310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sp>
        <p:nvSpPr>
          <p:cNvPr id="6" name="Rectangle 5">
            <a:extLst>
              <a:ext uri="{FF2B5EF4-FFF2-40B4-BE49-F238E27FC236}">
                <a16:creationId xmlns:a16="http://schemas.microsoft.com/office/drawing/2014/main" id="{8BF4A923-D247-4A8C-B19A-7C29DBDAFBA4}"/>
              </a:ext>
            </a:extLst>
          </p:cNvPr>
          <p:cNvSpPr/>
          <p:nvPr/>
        </p:nvSpPr>
        <p:spPr>
          <a:xfrm>
            <a:off x="9444787" y="3358816"/>
            <a:ext cx="2617921" cy="31081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pic>
        <p:nvPicPr>
          <p:cNvPr id="7" name="Picture 6">
            <a:extLst>
              <a:ext uri="{FF2B5EF4-FFF2-40B4-BE49-F238E27FC236}">
                <a16:creationId xmlns:a16="http://schemas.microsoft.com/office/drawing/2014/main" id="{94C73C08-0B79-43B1-8815-69329761CB2C}"/>
              </a:ext>
            </a:extLst>
          </p:cNvPr>
          <p:cNvPicPr>
            <a:picLocks noChangeAspect="1"/>
          </p:cNvPicPr>
          <p:nvPr/>
        </p:nvPicPr>
        <p:blipFill rotWithShape="1">
          <a:blip r:embed="rId8"/>
          <a:srcRect l="18222" t="36394" r="21831" b="9928"/>
          <a:stretch/>
        </p:blipFill>
        <p:spPr>
          <a:xfrm>
            <a:off x="2215928" y="3336729"/>
            <a:ext cx="7308761" cy="3681213"/>
          </a:xfrm>
          <a:prstGeom prst="rect">
            <a:avLst/>
          </a:prstGeom>
        </p:spPr>
      </p:pic>
    </p:spTree>
    <p:extLst>
      <p:ext uri="{BB962C8B-B14F-4D97-AF65-F5344CB8AC3E}">
        <p14:creationId xmlns:p14="http://schemas.microsoft.com/office/powerpoint/2010/main" val="1575537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0F80FD-5982-874E-9A58-B0BC414A9E40}"/>
              </a:ext>
            </a:extLst>
          </p:cNvPr>
          <p:cNvGraphicFramePr>
            <a:graphicFrameLocks noChangeAspect="1"/>
          </p:cNvGraphicFramePr>
          <p:nvPr>
            <p:custDataLst>
              <p:tags r:id="rId2"/>
            </p:custDataLst>
            <p:extLst>
              <p:ext uri="{D42A27DB-BD31-4B8C-83A1-F6EECF244321}">
                <p14:modId xmlns:p14="http://schemas.microsoft.com/office/powerpoint/2010/main" val="378414679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49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CD53F74-2A18-435F-A179-88A3A518931A}"/>
              </a:ext>
            </a:extLst>
          </p:cNvPr>
          <p:cNvPicPr>
            <a:picLocks noChangeAspect="1"/>
          </p:cNvPicPr>
          <p:nvPr/>
        </p:nvPicPr>
        <p:blipFill>
          <a:blip r:embed="rId7"/>
          <a:stretch>
            <a:fillRect/>
          </a:stretch>
        </p:blipFill>
        <p:spPr>
          <a:xfrm>
            <a:off x="0" y="0"/>
            <a:ext cx="12192000" cy="6858000"/>
          </a:xfrm>
          <a:prstGeom prst="rect">
            <a:avLst/>
          </a:prstGeom>
        </p:spPr>
      </p:pic>
      <p:pic>
        <p:nvPicPr>
          <p:cNvPr id="9" name="Picture 8">
            <a:extLst>
              <a:ext uri="{FF2B5EF4-FFF2-40B4-BE49-F238E27FC236}">
                <a16:creationId xmlns:a16="http://schemas.microsoft.com/office/drawing/2014/main" id="{DEE9D875-B721-4257-B4B3-6115CB99451B}"/>
              </a:ext>
            </a:extLst>
          </p:cNvPr>
          <p:cNvPicPr>
            <a:picLocks noChangeAspect="1"/>
          </p:cNvPicPr>
          <p:nvPr/>
        </p:nvPicPr>
        <p:blipFill rotWithShape="1">
          <a:blip r:embed="rId8"/>
          <a:srcRect l="24875" t="67615" r="25354" b="13641"/>
          <a:stretch/>
        </p:blipFill>
        <p:spPr>
          <a:xfrm>
            <a:off x="3027864" y="5544050"/>
            <a:ext cx="6068186" cy="1285461"/>
          </a:xfrm>
          <a:prstGeom prst="rect">
            <a:avLst/>
          </a:prstGeom>
        </p:spPr>
      </p:pic>
      <p:pic>
        <p:nvPicPr>
          <p:cNvPr id="10" name="Picture 9">
            <a:extLst>
              <a:ext uri="{FF2B5EF4-FFF2-40B4-BE49-F238E27FC236}">
                <a16:creationId xmlns:a16="http://schemas.microsoft.com/office/drawing/2014/main" id="{70697178-7DC4-4598-81F7-BBC9CDC3B48E}"/>
              </a:ext>
            </a:extLst>
          </p:cNvPr>
          <p:cNvPicPr>
            <a:picLocks noChangeAspect="1"/>
          </p:cNvPicPr>
          <p:nvPr/>
        </p:nvPicPr>
        <p:blipFill rotWithShape="1">
          <a:blip r:embed="rId9"/>
          <a:srcRect l="36117" t="17031" r="36065" b="52368"/>
          <a:stretch/>
        </p:blipFill>
        <p:spPr>
          <a:xfrm>
            <a:off x="4403361" y="1167984"/>
            <a:ext cx="3391524" cy="2098623"/>
          </a:xfrm>
          <a:prstGeom prst="rect">
            <a:avLst/>
          </a:prstGeom>
        </p:spPr>
      </p:pic>
    </p:spTree>
    <p:extLst>
      <p:ext uri="{BB962C8B-B14F-4D97-AF65-F5344CB8AC3E}">
        <p14:creationId xmlns:p14="http://schemas.microsoft.com/office/powerpoint/2010/main" val="13891374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54CE4A-27B0-6D40-BCF0-4E9868824F6E}"/>
              </a:ext>
            </a:extLst>
          </p:cNvPr>
          <p:cNvGraphicFramePr>
            <a:graphicFrameLocks noChangeAspect="1"/>
          </p:cNvGraphicFramePr>
          <p:nvPr>
            <p:custDataLst>
              <p:tags r:id="rId2"/>
            </p:custDataLst>
            <p:extLst>
              <p:ext uri="{D42A27DB-BD31-4B8C-83A1-F6EECF244321}">
                <p14:modId xmlns:p14="http://schemas.microsoft.com/office/powerpoint/2010/main" val="384938069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509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CF54CE4A-27B0-6D40-BCF0-4E9868824F6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2" name="제목 51">
            <a:extLst>
              <a:ext uri="{FF2B5EF4-FFF2-40B4-BE49-F238E27FC236}">
                <a16:creationId xmlns:a16="http://schemas.microsoft.com/office/drawing/2014/main" id="{47892869-609A-468F-B177-7D2D165E6FD0}"/>
              </a:ext>
            </a:extLst>
          </p:cNvPr>
          <p:cNvSpPr>
            <a:spLocks noGrp="1"/>
          </p:cNvSpPr>
          <p:nvPr>
            <p:ph type="title"/>
          </p:nvPr>
        </p:nvSpPr>
        <p:spPr>
          <a:xfrm>
            <a:off x="1166560" y="2120612"/>
            <a:ext cx="4113226" cy="1794163"/>
          </a:xfrm>
        </p:spPr>
        <p:txBody>
          <a:bodyPr vert="horz"/>
          <a:lstStyle/>
          <a:p>
            <a:r>
              <a:rPr lang="en-US" altLang="ko-KR" dirty="0"/>
              <a:t>SUCCESS</a:t>
            </a:r>
            <a:br>
              <a:rPr lang="en-US" altLang="ko-KR" dirty="0"/>
            </a:br>
            <a:r>
              <a:rPr lang="en-US" altLang="ko-KR" dirty="0"/>
              <a:t>BY MINDSET</a:t>
            </a:r>
            <a:endParaRPr lang="ko-KR" altLang="en-US" dirty="0"/>
          </a:p>
        </p:txBody>
      </p:sp>
      <p:cxnSp>
        <p:nvCxnSpPr>
          <p:cNvPr id="58" name="직선 연결선 57">
            <a:extLst>
              <a:ext uri="{FF2B5EF4-FFF2-40B4-BE49-F238E27FC236}">
                <a16:creationId xmlns:a16="http://schemas.microsoft.com/office/drawing/2014/main" id="{4709E0D8-BDE1-4909-8D71-95827F3C6B54}"/>
              </a:ext>
            </a:extLst>
          </p:cNvPr>
          <p:cNvCxnSpPr/>
          <p:nvPr/>
        </p:nvCxnSpPr>
        <p:spPr>
          <a:xfrm>
            <a:off x="0" y="3406249"/>
            <a:ext cx="4397829"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4" name="자유형: 도형 3">
            <a:extLst>
              <a:ext uri="{FF2B5EF4-FFF2-40B4-BE49-F238E27FC236}">
                <a16:creationId xmlns:a16="http://schemas.microsoft.com/office/drawing/2014/main" id="{62455AEA-2136-4BA4-A47D-E90736AAFA7B}"/>
              </a:ext>
            </a:extLst>
          </p:cNvPr>
          <p:cNvSpPr/>
          <p:nvPr/>
        </p:nvSpPr>
        <p:spPr>
          <a:xfrm>
            <a:off x="8003788" y="3126989"/>
            <a:ext cx="2088609" cy="2049357"/>
          </a:xfrm>
          <a:custGeom>
            <a:avLst/>
            <a:gdLst>
              <a:gd name="connsiteX0" fmla="*/ 1185141 w 1226103"/>
              <a:gd name="connsiteY0" fmla="*/ 0 h 1203061"/>
              <a:gd name="connsiteX1" fmla="*/ 1207139 w 1226103"/>
              <a:gd name="connsiteY1" fmla="*/ 85553 h 1203061"/>
              <a:gd name="connsiteX2" fmla="*/ 1226103 w 1226103"/>
              <a:gd name="connsiteY2" fmla="*/ 273676 h 1203061"/>
              <a:gd name="connsiteX3" fmla="*/ 388092 w 1226103"/>
              <a:gd name="connsiteY3" fmla="*/ 1202308 h 1203061"/>
              <a:gd name="connsiteX4" fmla="*/ 373190 w 1226103"/>
              <a:gd name="connsiteY4" fmla="*/ 1203061 h 1203061"/>
              <a:gd name="connsiteX5" fmla="*/ 258080 w 1226103"/>
              <a:gd name="connsiteY5" fmla="*/ 1108087 h 1203061"/>
              <a:gd name="connsiteX6" fmla="*/ 3642 w 1226103"/>
              <a:gd name="connsiteY6" fmla="*/ 636160 h 1203061"/>
              <a:gd name="connsiteX7" fmla="*/ 0 w 1226103"/>
              <a:gd name="connsiteY7" fmla="*/ 612293 h 1203061"/>
              <a:gd name="connsiteX8" fmla="*/ 15072 w 1226103"/>
              <a:gd name="connsiteY8" fmla="*/ 617809 h 1203061"/>
              <a:gd name="connsiteX9" fmla="*/ 292652 w 1226103"/>
              <a:gd name="connsiteY9" fmla="*/ 659775 h 1203061"/>
              <a:gd name="connsiteX10" fmla="*/ 655993 w 1226103"/>
              <a:gd name="connsiteY10" fmla="*/ 586420 h 1203061"/>
              <a:gd name="connsiteX11" fmla="*/ 692683 w 1226103"/>
              <a:gd name="connsiteY11" fmla="*/ 568746 h 1203061"/>
              <a:gd name="connsiteX12" fmla="*/ 737590 w 1226103"/>
              <a:gd name="connsiteY12" fmla="*/ 547113 h 1203061"/>
              <a:gd name="connsiteX13" fmla="*/ 1184137 w 1226103"/>
              <a:gd name="connsiteY13" fmla="*/ 3904 h 120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26103" h="1203061">
                <a:moveTo>
                  <a:pt x="1185141" y="0"/>
                </a:moveTo>
                <a:lnTo>
                  <a:pt x="1207139" y="85553"/>
                </a:lnTo>
                <a:cubicBezTo>
                  <a:pt x="1219573" y="146319"/>
                  <a:pt x="1226103" y="209235"/>
                  <a:pt x="1226103" y="273676"/>
                </a:cubicBezTo>
                <a:cubicBezTo>
                  <a:pt x="1226103" y="756987"/>
                  <a:pt x="858791" y="1154506"/>
                  <a:pt x="388092" y="1202308"/>
                </a:cubicBezTo>
                <a:lnTo>
                  <a:pt x="373190" y="1203061"/>
                </a:lnTo>
                <a:lnTo>
                  <a:pt x="258080" y="1108087"/>
                </a:lnTo>
                <a:cubicBezTo>
                  <a:pt x="131389" y="981396"/>
                  <a:pt x="40946" y="818457"/>
                  <a:pt x="3642" y="636160"/>
                </a:cubicBezTo>
                <a:lnTo>
                  <a:pt x="0" y="612293"/>
                </a:lnTo>
                <a:lnTo>
                  <a:pt x="15072" y="617809"/>
                </a:lnTo>
                <a:cubicBezTo>
                  <a:pt x="102759" y="645083"/>
                  <a:pt x="195990" y="659775"/>
                  <a:pt x="292652" y="659775"/>
                </a:cubicBezTo>
                <a:cubicBezTo>
                  <a:pt x="421535" y="659775"/>
                  <a:pt x="544317" y="633655"/>
                  <a:pt x="655993" y="586420"/>
                </a:cubicBezTo>
                <a:lnTo>
                  <a:pt x="692683" y="568746"/>
                </a:lnTo>
                <a:lnTo>
                  <a:pt x="737590" y="547113"/>
                </a:lnTo>
                <a:cubicBezTo>
                  <a:pt x="949213" y="432153"/>
                  <a:pt x="1111408" y="237737"/>
                  <a:pt x="1184137" y="3904"/>
                </a:cubicBezTo>
                <a:close/>
              </a:path>
            </a:pathLst>
          </a:cu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자유형: 도형 4">
            <a:extLst>
              <a:ext uri="{FF2B5EF4-FFF2-40B4-BE49-F238E27FC236}">
                <a16:creationId xmlns:a16="http://schemas.microsoft.com/office/drawing/2014/main" id="{7E6B19F5-C74C-4D8A-868A-B1B7695A020E}"/>
              </a:ext>
            </a:extLst>
          </p:cNvPr>
          <p:cNvSpPr/>
          <p:nvPr/>
        </p:nvSpPr>
        <p:spPr>
          <a:xfrm>
            <a:off x="6912216" y="2307439"/>
            <a:ext cx="1628814" cy="2875834"/>
          </a:xfrm>
          <a:custGeom>
            <a:avLst/>
            <a:gdLst>
              <a:gd name="connsiteX0" fmla="*/ 1515124 w 1552021"/>
              <a:gd name="connsiteY0" fmla="*/ 2715968 h 2740247"/>
              <a:gd name="connsiteX1" fmla="*/ 1552021 w 1552021"/>
              <a:gd name="connsiteY1" fmla="*/ 2738384 h 2740247"/>
              <a:gd name="connsiteX2" fmla="*/ 1515123 w 1552021"/>
              <a:gd name="connsiteY2" fmla="*/ 2740247 h 2740247"/>
              <a:gd name="connsiteX3" fmla="*/ 1478227 w 1552021"/>
              <a:gd name="connsiteY3" fmla="*/ 2738384 h 2740247"/>
              <a:gd name="connsiteX4" fmla="*/ 629210 w 1552021"/>
              <a:gd name="connsiteY4" fmla="*/ 0 h 2740247"/>
              <a:gd name="connsiteX5" fmla="*/ 681044 w 1552021"/>
              <a:gd name="connsiteY5" fmla="*/ 2616 h 2740247"/>
              <a:gd name="connsiteX6" fmla="*/ 1336353 w 1552021"/>
              <a:gd name="connsiteY6" fmla="*/ 204822 h 2740247"/>
              <a:gd name="connsiteX7" fmla="*/ 1431862 w 1552021"/>
              <a:gd name="connsiteY7" fmla="*/ 262845 h 2740247"/>
              <a:gd name="connsiteX8" fmla="*/ 1367632 w 1552021"/>
              <a:gd name="connsiteY8" fmla="*/ 312083 h 2740247"/>
              <a:gd name="connsiteX9" fmla="*/ 844044 w 1552021"/>
              <a:gd name="connsiteY9" fmla="*/ 1457737 h 2740247"/>
              <a:gd name="connsiteX10" fmla="*/ 851866 w 1552021"/>
              <a:gd name="connsiteY10" fmla="*/ 1612649 h 2740247"/>
              <a:gd name="connsiteX11" fmla="*/ 865819 w 1552021"/>
              <a:gd name="connsiteY11" fmla="*/ 1704066 h 2740247"/>
              <a:gd name="connsiteX12" fmla="*/ 874826 w 1552021"/>
              <a:gd name="connsiteY12" fmla="*/ 1763087 h 2740247"/>
              <a:gd name="connsiteX13" fmla="*/ 1512048 w 1552021"/>
              <a:gd name="connsiteY13" fmla="*/ 2714099 h 2740247"/>
              <a:gd name="connsiteX14" fmla="*/ 1515124 w 1552021"/>
              <a:gd name="connsiteY14" fmla="*/ 2715967 h 2740247"/>
              <a:gd name="connsiteX15" fmla="*/ 1478227 w 1552021"/>
              <a:gd name="connsiteY15" fmla="*/ 2738383 h 2740247"/>
              <a:gd name="connsiteX16" fmla="*/ 1360210 w 1552021"/>
              <a:gd name="connsiteY16" fmla="*/ 2732425 h 2740247"/>
              <a:gd name="connsiteX17" fmla="*/ 0 w 1552021"/>
              <a:gd name="connsiteY17" fmla="*/ 1225125 h 2740247"/>
              <a:gd name="connsiteX18" fmla="*/ 30781 w 1552021"/>
              <a:gd name="connsiteY18" fmla="*/ 919775 h 2740247"/>
              <a:gd name="connsiteX19" fmla="*/ 66487 w 1552021"/>
              <a:gd name="connsiteY19" fmla="*/ 780910 h 2740247"/>
              <a:gd name="connsiteX20" fmla="*/ 68116 w 1552021"/>
              <a:gd name="connsiteY20" fmla="*/ 774574 h 2740247"/>
              <a:gd name="connsiteX21" fmla="*/ 469779 w 1552021"/>
              <a:gd name="connsiteY21" fmla="*/ 128376 h 2740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52021" h="2740247">
                <a:moveTo>
                  <a:pt x="1515124" y="2715968"/>
                </a:moveTo>
                <a:lnTo>
                  <a:pt x="1552021" y="2738384"/>
                </a:lnTo>
                <a:lnTo>
                  <a:pt x="1515123" y="2740247"/>
                </a:lnTo>
                <a:lnTo>
                  <a:pt x="1478227" y="2738384"/>
                </a:lnTo>
                <a:close/>
                <a:moveTo>
                  <a:pt x="629210" y="0"/>
                </a:moveTo>
                <a:lnTo>
                  <a:pt x="681044" y="2616"/>
                </a:lnTo>
                <a:cubicBezTo>
                  <a:pt x="916394" y="26519"/>
                  <a:pt x="1137958" y="97049"/>
                  <a:pt x="1336353" y="204822"/>
                </a:cubicBezTo>
                <a:lnTo>
                  <a:pt x="1431862" y="262845"/>
                </a:lnTo>
                <a:lnTo>
                  <a:pt x="1367632" y="312083"/>
                </a:lnTo>
                <a:cubicBezTo>
                  <a:pt x="1046917" y="589894"/>
                  <a:pt x="844044" y="1000123"/>
                  <a:pt x="844044" y="1457737"/>
                </a:cubicBezTo>
                <a:cubicBezTo>
                  <a:pt x="844044" y="1510036"/>
                  <a:pt x="846695" y="1561715"/>
                  <a:pt x="851866" y="1612649"/>
                </a:cubicBezTo>
                <a:lnTo>
                  <a:pt x="865819" y="1704066"/>
                </a:lnTo>
                <a:lnTo>
                  <a:pt x="874826" y="1763087"/>
                </a:lnTo>
                <a:cubicBezTo>
                  <a:pt x="955557" y="2157610"/>
                  <a:pt x="1189627" y="2496277"/>
                  <a:pt x="1512048" y="2714099"/>
                </a:cubicBezTo>
                <a:lnTo>
                  <a:pt x="1515124" y="2715967"/>
                </a:lnTo>
                <a:lnTo>
                  <a:pt x="1478227" y="2738383"/>
                </a:lnTo>
                <a:lnTo>
                  <a:pt x="1360210" y="2732425"/>
                </a:lnTo>
                <a:cubicBezTo>
                  <a:pt x="596200" y="2654835"/>
                  <a:pt x="0" y="2009606"/>
                  <a:pt x="0" y="1225125"/>
                </a:cubicBezTo>
                <a:cubicBezTo>
                  <a:pt x="0" y="1120528"/>
                  <a:pt x="10599" y="1018406"/>
                  <a:pt x="30781" y="919775"/>
                </a:cubicBezTo>
                <a:lnTo>
                  <a:pt x="66487" y="780910"/>
                </a:lnTo>
                <a:lnTo>
                  <a:pt x="68116" y="774574"/>
                </a:lnTo>
                <a:cubicBezTo>
                  <a:pt x="145587" y="525499"/>
                  <a:pt x="285598" y="303977"/>
                  <a:pt x="469779" y="12837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자유형: 도형 5">
            <a:extLst>
              <a:ext uri="{FF2B5EF4-FFF2-40B4-BE49-F238E27FC236}">
                <a16:creationId xmlns:a16="http://schemas.microsoft.com/office/drawing/2014/main" id="{DC230601-7FCE-4C99-B172-B1E216CF68D4}"/>
              </a:ext>
            </a:extLst>
          </p:cNvPr>
          <p:cNvSpPr/>
          <p:nvPr/>
        </p:nvSpPr>
        <p:spPr>
          <a:xfrm rot="21341135">
            <a:off x="7715755" y="1976247"/>
            <a:ext cx="2240842" cy="2066125"/>
          </a:xfrm>
          <a:custGeom>
            <a:avLst/>
            <a:gdLst>
              <a:gd name="connsiteX0" fmla="*/ 506732 w 1315470"/>
              <a:gd name="connsiteY0" fmla="*/ 2689 h 1212904"/>
              <a:gd name="connsiteX1" fmla="*/ 941934 w 1315470"/>
              <a:gd name="connsiteY1" fmla="*/ 148504 h 1212904"/>
              <a:gd name="connsiteX2" fmla="*/ 991730 w 1315470"/>
              <a:gd name="connsiteY2" fmla="*/ 184147 h 1212904"/>
              <a:gd name="connsiteX3" fmla="*/ 1015161 w 1315470"/>
              <a:gd name="connsiteY3" fmla="*/ 200919 h 1212904"/>
              <a:gd name="connsiteX4" fmla="*/ 1297454 w 1315470"/>
              <a:gd name="connsiteY4" fmla="*/ 572285 h 1212904"/>
              <a:gd name="connsiteX5" fmla="*/ 1315470 w 1315470"/>
              <a:gd name="connsiteY5" fmla="*/ 628101 h 1212904"/>
              <a:gd name="connsiteX6" fmla="*/ 1288430 w 1315470"/>
              <a:gd name="connsiteY6" fmla="*/ 701983 h 1212904"/>
              <a:gd name="connsiteX7" fmla="*/ 825651 w 1315470"/>
              <a:gd name="connsiteY7" fmla="*/ 1211902 h 1212904"/>
              <a:gd name="connsiteX8" fmla="*/ 823572 w 1315470"/>
              <a:gd name="connsiteY8" fmla="*/ 1212904 h 1212904"/>
              <a:gd name="connsiteX9" fmla="*/ 826016 w 1315470"/>
              <a:gd name="connsiteY9" fmla="*/ 1202309 h 1212904"/>
              <a:gd name="connsiteX10" fmla="*/ 838001 w 1315470"/>
              <a:gd name="connsiteY10" fmla="*/ 1107502 h 1212904"/>
              <a:gd name="connsiteX11" fmla="*/ 485848 w 1315470"/>
              <a:gd name="connsiteY11" fmla="*/ 304703 h 1212904"/>
              <a:gd name="connsiteX12" fmla="*/ 484046 w 1315470"/>
              <a:gd name="connsiteY12" fmla="*/ 303412 h 1212904"/>
              <a:gd name="connsiteX13" fmla="*/ 412620 w 1315470"/>
              <a:gd name="connsiteY13" fmla="*/ 252288 h 1212904"/>
              <a:gd name="connsiteX14" fmla="*/ 339866 w 1315470"/>
              <a:gd name="connsiteY14" fmla="*/ 210224 h 1212904"/>
              <a:gd name="connsiteX15" fmla="*/ 339860 w 1315470"/>
              <a:gd name="connsiteY15" fmla="*/ 210219 h 1212904"/>
              <a:gd name="connsiteX16" fmla="*/ 334212 w 1315470"/>
              <a:gd name="connsiteY16" fmla="*/ 206953 h 1212904"/>
              <a:gd name="connsiteX17" fmla="*/ 72226 w 1315470"/>
              <a:gd name="connsiteY17" fmla="*/ 118457 h 1212904"/>
              <a:gd name="connsiteX18" fmla="*/ 0 w 1315470"/>
              <a:gd name="connsiteY18" fmla="*/ 109327 h 1212904"/>
              <a:gd name="connsiteX19" fmla="*/ 54580 w 1315470"/>
              <a:gd name="connsiteY19" fmla="*/ 81558 h 1212904"/>
              <a:gd name="connsiteX20" fmla="*/ 68332 w 1315470"/>
              <a:gd name="connsiteY20" fmla="*/ 76360 h 1212904"/>
              <a:gd name="connsiteX21" fmla="*/ 68333 w 1315470"/>
              <a:gd name="connsiteY21" fmla="*/ 76360 h 1212904"/>
              <a:gd name="connsiteX22" fmla="*/ 160558 w 1315470"/>
              <a:gd name="connsiteY22" fmla="*/ 41503 h 1212904"/>
              <a:gd name="connsiteX23" fmla="*/ 506732 w 1315470"/>
              <a:gd name="connsiteY23" fmla="*/ 2689 h 121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15470" h="1212904">
                <a:moveTo>
                  <a:pt x="506732" y="2689"/>
                </a:moveTo>
                <a:cubicBezTo>
                  <a:pt x="667380" y="14809"/>
                  <a:pt x="815451" y="66909"/>
                  <a:pt x="941934" y="148504"/>
                </a:cubicBezTo>
                <a:lnTo>
                  <a:pt x="991730" y="184147"/>
                </a:lnTo>
                <a:lnTo>
                  <a:pt x="1015161" y="200919"/>
                </a:lnTo>
                <a:cubicBezTo>
                  <a:pt x="1138524" y="298543"/>
                  <a:pt x="1236100" y="426377"/>
                  <a:pt x="1297454" y="572285"/>
                </a:cubicBezTo>
                <a:lnTo>
                  <a:pt x="1315470" y="628101"/>
                </a:lnTo>
                <a:lnTo>
                  <a:pt x="1288430" y="701983"/>
                </a:lnTo>
                <a:cubicBezTo>
                  <a:pt x="1196287" y="919835"/>
                  <a:pt x="1032061" y="1099774"/>
                  <a:pt x="825651" y="1211902"/>
                </a:cubicBezTo>
                <a:lnTo>
                  <a:pt x="823572" y="1212904"/>
                </a:lnTo>
                <a:lnTo>
                  <a:pt x="826016" y="1202309"/>
                </a:lnTo>
                <a:cubicBezTo>
                  <a:pt x="831555" y="1171258"/>
                  <a:pt x="835577" y="1139632"/>
                  <a:pt x="838001" y="1107502"/>
                </a:cubicBezTo>
                <a:cubicBezTo>
                  <a:pt x="862241" y="786208"/>
                  <a:pt x="720824" y="490655"/>
                  <a:pt x="485848" y="304703"/>
                </a:cubicBezTo>
                <a:lnTo>
                  <a:pt x="484046" y="303412"/>
                </a:lnTo>
                <a:lnTo>
                  <a:pt x="412620" y="252288"/>
                </a:lnTo>
                <a:lnTo>
                  <a:pt x="339866" y="210224"/>
                </a:lnTo>
                <a:lnTo>
                  <a:pt x="339860" y="210219"/>
                </a:lnTo>
                <a:lnTo>
                  <a:pt x="334212" y="206953"/>
                </a:lnTo>
                <a:cubicBezTo>
                  <a:pt x="253357" y="165327"/>
                  <a:pt x="165380" y="135073"/>
                  <a:pt x="72226" y="118457"/>
                </a:cubicBezTo>
                <a:lnTo>
                  <a:pt x="0" y="109327"/>
                </a:lnTo>
                <a:lnTo>
                  <a:pt x="54580" y="81558"/>
                </a:lnTo>
                <a:lnTo>
                  <a:pt x="68332" y="76360"/>
                </a:lnTo>
                <a:lnTo>
                  <a:pt x="68333" y="76360"/>
                </a:lnTo>
                <a:lnTo>
                  <a:pt x="160558" y="41503"/>
                </a:lnTo>
                <a:cubicBezTo>
                  <a:pt x="269382" y="7805"/>
                  <a:pt x="386247" y="-6401"/>
                  <a:pt x="506732" y="2689"/>
                </a:cubicBezTo>
                <a:close/>
              </a:path>
            </a:pathLst>
          </a:cu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0" name="TextBox 59">
            <a:extLst>
              <a:ext uri="{FF2B5EF4-FFF2-40B4-BE49-F238E27FC236}">
                <a16:creationId xmlns:a16="http://schemas.microsoft.com/office/drawing/2014/main" id="{79B8EE13-3453-414A-8975-40694BDC8520}"/>
              </a:ext>
            </a:extLst>
          </p:cNvPr>
          <p:cNvSpPr txBox="1"/>
          <p:nvPr/>
        </p:nvSpPr>
        <p:spPr>
          <a:xfrm>
            <a:off x="4335268" y="3754199"/>
            <a:ext cx="2517702" cy="45538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Users Acceptance</a:t>
            </a:r>
          </a:p>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Nice weather</a:t>
            </a:r>
          </a:p>
        </p:txBody>
      </p:sp>
      <p:sp>
        <p:nvSpPr>
          <p:cNvPr id="62" name="TextBox 61">
            <a:extLst>
              <a:ext uri="{FF2B5EF4-FFF2-40B4-BE49-F238E27FC236}">
                <a16:creationId xmlns:a16="http://schemas.microsoft.com/office/drawing/2014/main" id="{D61A8B58-34C1-4E91-BF8C-5DD506726630}"/>
              </a:ext>
            </a:extLst>
          </p:cNvPr>
          <p:cNvSpPr txBox="1"/>
          <p:nvPr/>
        </p:nvSpPr>
        <p:spPr>
          <a:xfrm>
            <a:off x="4517657" y="3136934"/>
            <a:ext cx="2163309"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TIMING</a:t>
            </a:r>
            <a:endParaRPr lang="ko-KR" altLang="en-US" sz="2800" spc="300" dirty="0">
              <a:solidFill>
                <a:schemeClr val="bg1"/>
              </a:solidFill>
              <a:latin typeface="+mj-lt"/>
              <a:ea typeface="+mj-ea"/>
              <a:cs typeface="+mj-cs"/>
            </a:endParaRPr>
          </a:p>
        </p:txBody>
      </p:sp>
      <p:sp>
        <p:nvSpPr>
          <p:cNvPr id="63" name="TextBox 62">
            <a:extLst>
              <a:ext uri="{FF2B5EF4-FFF2-40B4-BE49-F238E27FC236}">
                <a16:creationId xmlns:a16="http://schemas.microsoft.com/office/drawing/2014/main" id="{6BA53422-1E54-42AF-A9E1-839468E9E577}"/>
              </a:ext>
            </a:extLst>
          </p:cNvPr>
          <p:cNvSpPr txBox="1"/>
          <p:nvPr/>
        </p:nvSpPr>
        <p:spPr>
          <a:xfrm>
            <a:off x="9136696" y="1894885"/>
            <a:ext cx="2517702" cy="26924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What value are you adding</a:t>
            </a:r>
          </a:p>
        </p:txBody>
      </p:sp>
      <p:sp>
        <p:nvSpPr>
          <p:cNvPr id="64" name="TextBox 63">
            <a:extLst>
              <a:ext uri="{FF2B5EF4-FFF2-40B4-BE49-F238E27FC236}">
                <a16:creationId xmlns:a16="http://schemas.microsoft.com/office/drawing/2014/main" id="{DC5A4949-4901-47B5-AD83-6E4E0DD5000B}"/>
              </a:ext>
            </a:extLst>
          </p:cNvPr>
          <p:cNvSpPr txBox="1"/>
          <p:nvPr/>
        </p:nvSpPr>
        <p:spPr>
          <a:xfrm>
            <a:off x="9507666" y="1277620"/>
            <a:ext cx="1775762"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VISION</a:t>
            </a:r>
            <a:endParaRPr lang="ko-KR" altLang="en-US" sz="2800" spc="300" dirty="0">
              <a:solidFill>
                <a:schemeClr val="bg1"/>
              </a:solidFill>
              <a:latin typeface="+mj-lt"/>
              <a:ea typeface="+mj-ea"/>
              <a:cs typeface="+mj-cs"/>
            </a:endParaRPr>
          </a:p>
        </p:txBody>
      </p:sp>
      <p:sp>
        <p:nvSpPr>
          <p:cNvPr id="65" name="TextBox 64">
            <a:extLst>
              <a:ext uri="{FF2B5EF4-FFF2-40B4-BE49-F238E27FC236}">
                <a16:creationId xmlns:a16="http://schemas.microsoft.com/office/drawing/2014/main" id="{0EC5AF09-78F8-4D04-B242-4E974ADA3D44}"/>
              </a:ext>
            </a:extLst>
          </p:cNvPr>
          <p:cNvSpPr txBox="1"/>
          <p:nvPr/>
        </p:nvSpPr>
        <p:spPr>
          <a:xfrm>
            <a:off x="9845063" y="5251463"/>
            <a:ext cx="2115808" cy="269241"/>
          </a:xfrm>
          <a:prstGeom prst="rect">
            <a:avLst/>
          </a:prstGeom>
          <a:noFill/>
        </p:spPr>
        <p:txBody>
          <a:bodyPr wrap="square" rtlCol="0">
            <a:spAutoFit/>
          </a:bodyPr>
          <a:lstStyle/>
          <a:p>
            <a:pPr algn="ct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Talents Acquisition </a:t>
            </a:r>
          </a:p>
        </p:txBody>
      </p:sp>
      <p:sp>
        <p:nvSpPr>
          <p:cNvPr id="66" name="TextBox 65">
            <a:extLst>
              <a:ext uri="{FF2B5EF4-FFF2-40B4-BE49-F238E27FC236}">
                <a16:creationId xmlns:a16="http://schemas.microsoft.com/office/drawing/2014/main" id="{444442A3-44B6-4E50-BB0D-67D35B177B5C}"/>
              </a:ext>
            </a:extLst>
          </p:cNvPr>
          <p:cNvSpPr txBox="1"/>
          <p:nvPr/>
        </p:nvSpPr>
        <p:spPr>
          <a:xfrm>
            <a:off x="9899375" y="4634198"/>
            <a:ext cx="2007184" cy="523220"/>
          </a:xfrm>
          <a:prstGeom prst="rect">
            <a:avLst/>
          </a:prstGeom>
          <a:noFill/>
        </p:spPr>
        <p:txBody>
          <a:bodyPr wrap="square" rtlCol="0">
            <a:spAutoFit/>
          </a:bodyPr>
          <a:lstStyle/>
          <a:p>
            <a:pPr algn="ctr"/>
            <a:r>
              <a:rPr lang="en-US" altLang="ko-KR" sz="2800" spc="300" dirty="0">
                <a:solidFill>
                  <a:schemeClr val="bg1"/>
                </a:solidFill>
                <a:latin typeface="+mj-lt"/>
                <a:ea typeface="+mj-ea"/>
                <a:cs typeface="+mj-cs"/>
              </a:rPr>
              <a:t>TEAM</a:t>
            </a:r>
            <a:endParaRPr lang="ko-KR" altLang="en-US" sz="2800" spc="300" dirty="0">
              <a:solidFill>
                <a:schemeClr val="bg1"/>
              </a:solidFill>
              <a:latin typeface="+mj-lt"/>
              <a:ea typeface="+mj-ea"/>
              <a:cs typeface="+mj-cs"/>
            </a:endParaRPr>
          </a:p>
        </p:txBody>
      </p:sp>
      <p:sp>
        <p:nvSpPr>
          <p:cNvPr id="8" name="Rectangle 7">
            <a:extLst>
              <a:ext uri="{FF2B5EF4-FFF2-40B4-BE49-F238E27FC236}">
                <a16:creationId xmlns:a16="http://schemas.microsoft.com/office/drawing/2014/main" id="{FD4EA8D6-C199-5E47-93D1-51B6C97A9A26}"/>
              </a:ext>
            </a:extLst>
          </p:cNvPr>
          <p:cNvSpPr/>
          <p:nvPr/>
        </p:nvSpPr>
        <p:spPr>
          <a:xfrm>
            <a:off x="3632966" y="15459356"/>
            <a:ext cx="6096000" cy="686470"/>
          </a:xfrm>
          <a:prstGeom prst="rect">
            <a:avLst/>
          </a:prstGeom>
        </p:spPr>
        <p:txBody>
          <a:bodyPr>
            <a:spAutoFit/>
          </a:bodyPr>
          <a:lstStyle/>
          <a:p>
            <a:pPr algn="ctr">
              <a:lnSpc>
                <a:spcPct val="110000"/>
              </a:lnSpc>
            </a:pPr>
            <a:r>
              <a:rPr lang="en-US" altLang="ko-KR" dirty="0">
                <a:solidFill>
                  <a:schemeClr val="bg1">
                    <a:lumMod val="95000"/>
                  </a:schemeClr>
                </a:solidFill>
                <a:ea typeface="맑은 고딕" panose="020B0503020000020004" pitchFamily="50" charset="-127"/>
                <a:cs typeface="Calibri" panose="020F0502020204030204" pitchFamily="34" charset="0"/>
              </a:rPr>
              <a:t>No professional will accept to be a VC taking </a:t>
            </a:r>
            <a:r>
              <a:rPr lang="en-US" altLang="ko-KR" dirty="0" err="1">
                <a:solidFill>
                  <a:schemeClr val="bg1">
                    <a:lumMod val="95000"/>
                  </a:schemeClr>
                </a:solidFill>
                <a:ea typeface="맑은 고딕" panose="020B0503020000020004" pitchFamily="50" charset="-127"/>
                <a:cs typeface="Calibri" panose="020F0502020204030204" pitchFamily="34" charset="0"/>
              </a:rPr>
              <a:t>equaty</a:t>
            </a:r>
            <a:r>
              <a:rPr lang="en-US" altLang="ko-KR" dirty="0">
                <a:solidFill>
                  <a:schemeClr val="bg1">
                    <a:lumMod val="95000"/>
                  </a:schemeClr>
                </a:solidFill>
                <a:ea typeface="맑은 고딕" panose="020B0503020000020004" pitchFamily="50" charset="-127"/>
                <a:cs typeface="Calibri" panose="020F0502020204030204" pitchFamily="34" charset="0"/>
              </a:rPr>
              <a:t> of a skeptical idea</a:t>
            </a:r>
          </a:p>
        </p:txBody>
      </p:sp>
      <p:sp>
        <p:nvSpPr>
          <p:cNvPr id="44" name="자유형: 도형 5">
            <a:extLst>
              <a:ext uri="{FF2B5EF4-FFF2-40B4-BE49-F238E27FC236}">
                <a16:creationId xmlns:a16="http://schemas.microsoft.com/office/drawing/2014/main" id="{13306F4C-494F-5C41-AAD0-A68FBA0181D0}"/>
              </a:ext>
            </a:extLst>
          </p:cNvPr>
          <p:cNvSpPr/>
          <p:nvPr/>
        </p:nvSpPr>
        <p:spPr>
          <a:xfrm>
            <a:off x="6792388" y="1869842"/>
            <a:ext cx="3419836" cy="3419836"/>
          </a:xfrm>
          <a:prstGeom prst="ellipse">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2800" spc="300" dirty="0">
                <a:solidFill>
                  <a:schemeClr val="bg1"/>
                </a:solidFill>
                <a:latin typeface="+mj-lt"/>
                <a:ea typeface="+mj-ea"/>
                <a:cs typeface="+mj-cs"/>
              </a:rPr>
              <a:t>SUCCESS</a:t>
            </a:r>
            <a:endParaRPr lang="ko-KR" altLang="en-US" sz="2800" spc="300" dirty="0">
              <a:solidFill>
                <a:schemeClr val="bg1"/>
              </a:solidFill>
              <a:latin typeface="+mj-lt"/>
              <a:ea typeface="+mj-ea"/>
              <a:cs typeface="+mj-cs"/>
            </a:endParaRPr>
          </a:p>
        </p:txBody>
      </p:sp>
    </p:spTree>
    <p:extLst>
      <p:ext uri="{BB962C8B-B14F-4D97-AF65-F5344CB8AC3E}">
        <p14:creationId xmlns:p14="http://schemas.microsoft.com/office/powerpoint/2010/main" val="1036241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0"/>
                                        </p:tgtEl>
                                        <p:attrNameLst>
                                          <p:attrName>style.visibility</p:attrName>
                                        </p:attrNameLst>
                                      </p:cBhvr>
                                      <p:to>
                                        <p:strVal val="visible"/>
                                      </p:to>
                                    </p:set>
                                    <p:animEffect transition="in" filter="fade">
                                      <p:cBhvr>
                                        <p:cTn id="10" dur="500"/>
                                        <p:tgtEl>
                                          <p:spTgt spid="6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2"/>
                                        </p:tgtEl>
                                        <p:attrNameLst>
                                          <p:attrName>style.visibility</p:attrName>
                                        </p:attrNameLst>
                                      </p:cBhvr>
                                      <p:to>
                                        <p:strVal val="visible"/>
                                      </p:to>
                                    </p:set>
                                    <p:animEffect transition="in" filter="fade">
                                      <p:cBhvr>
                                        <p:cTn id="13" dur="500"/>
                                        <p:tgtEl>
                                          <p:spTgt spid="62"/>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63"/>
                                        </p:tgtEl>
                                        <p:attrNameLst>
                                          <p:attrName>style.visibility</p:attrName>
                                        </p:attrNameLst>
                                      </p:cBhvr>
                                      <p:to>
                                        <p:strVal val="visible"/>
                                      </p:to>
                                    </p:set>
                                    <p:animEffect transition="in" filter="fade">
                                      <p:cBhvr>
                                        <p:cTn id="21" dur="500"/>
                                        <p:tgtEl>
                                          <p:spTgt spid="6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4"/>
                                        </p:tgtEl>
                                        <p:attrNameLst>
                                          <p:attrName>style.visibility</p:attrName>
                                        </p:attrNameLst>
                                      </p:cBhvr>
                                      <p:to>
                                        <p:strVal val="visible"/>
                                      </p:to>
                                    </p:set>
                                    <p:animEffect transition="in" filter="fade">
                                      <p:cBhvr>
                                        <p:cTn id="24" dur="500"/>
                                        <p:tgtEl>
                                          <p:spTgt spid="64"/>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fade">
                                      <p:cBhvr>
                                        <p:cTn id="29" dur="500"/>
                                        <p:tgtEl>
                                          <p:spTgt spid="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65"/>
                                        </p:tgtEl>
                                        <p:attrNameLst>
                                          <p:attrName>style.visibility</p:attrName>
                                        </p:attrNameLst>
                                      </p:cBhvr>
                                      <p:to>
                                        <p:strVal val="visible"/>
                                      </p:to>
                                    </p:set>
                                    <p:animEffect transition="in" filter="fade">
                                      <p:cBhvr>
                                        <p:cTn id="32" dur="500"/>
                                        <p:tgtEl>
                                          <p:spTgt spid="6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6"/>
                                        </p:tgtEl>
                                        <p:attrNameLst>
                                          <p:attrName>style.visibility</p:attrName>
                                        </p:attrNameLst>
                                      </p:cBhvr>
                                      <p:to>
                                        <p:strVal val="visible"/>
                                      </p:to>
                                    </p:set>
                                    <p:animEffect transition="in" filter="fade">
                                      <p:cBhvr>
                                        <p:cTn id="35" dur="500"/>
                                        <p:tgtEl>
                                          <p:spTgt spid="66"/>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grpId="0" nodeType="click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fade">
                                      <p:cBhvr>
                                        <p:cTn id="40"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60" grpId="0"/>
      <p:bldP spid="62" grpId="0"/>
      <p:bldP spid="63" grpId="0"/>
      <p:bldP spid="64" grpId="0"/>
      <p:bldP spid="65" grpId="0"/>
      <p:bldP spid="66" grpId="0"/>
      <p:bldP spid="44"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5AFF348-273B-3A41-8F8E-16B97E94917B}"/>
              </a:ext>
            </a:extLst>
          </p:cNvPr>
          <p:cNvGraphicFramePr>
            <a:graphicFrameLocks noChangeAspect="1"/>
          </p:cNvGraphicFramePr>
          <p:nvPr>
            <p:custDataLst>
              <p:tags r:id="rId2"/>
            </p:custDataLst>
            <p:extLst>
              <p:ext uri="{D42A27DB-BD31-4B8C-83A1-F6EECF244321}">
                <p14:modId xmlns:p14="http://schemas.microsoft.com/office/powerpoint/2010/main" val="29493570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59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6CD0F31-605A-44B1-81D3-20EB481E167D}"/>
              </a:ext>
            </a:extLst>
          </p:cNvPr>
          <p:cNvPicPr>
            <a:picLocks noChangeAspect="1"/>
          </p:cNvPicPr>
          <p:nvPr/>
        </p:nvPicPr>
        <p:blipFill>
          <a:blip r:embed="rId7"/>
          <a:stretch>
            <a:fillRect/>
          </a:stretch>
        </p:blipFill>
        <p:spPr>
          <a:xfrm>
            <a:off x="0" y="0"/>
            <a:ext cx="12192000" cy="6858000"/>
          </a:xfrm>
          <a:prstGeom prst="rect">
            <a:avLst/>
          </a:prstGeom>
        </p:spPr>
      </p:pic>
    </p:spTree>
    <p:extLst>
      <p:ext uri="{BB962C8B-B14F-4D97-AF65-F5344CB8AC3E}">
        <p14:creationId xmlns:p14="http://schemas.microsoft.com/office/powerpoint/2010/main" val="30864635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5A7C127-F112-EA43-823F-25DE5464679A}"/>
              </a:ext>
            </a:extLst>
          </p:cNvPr>
          <p:cNvGraphicFramePr>
            <a:graphicFrameLocks noChangeAspect="1"/>
          </p:cNvGraphicFramePr>
          <p:nvPr>
            <p:custDataLst>
              <p:tags r:id="rId2"/>
            </p:custDataLst>
            <p:extLst>
              <p:ext uri="{D42A27DB-BD31-4B8C-83A1-F6EECF244321}">
                <p14:modId xmlns:p14="http://schemas.microsoft.com/office/powerpoint/2010/main" val="303946703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69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5" name="차트 5">
            <a:extLst>
              <a:ext uri="{FF2B5EF4-FFF2-40B4-BE49-F238E27FC236}">
                <a16:creationId xmlns:a16="http://schemas.microsoft.com/office/drawing/2014/main" id="{406A135D-BBC5-B443-906C-434228C84747}"/>
              </a:ext>
            </a:extLst>
          </p:cNvPr>
          <p:cNvGraphicFramePr/>
          <p:nvPr>
            <p:extLst>
              <p:ext uri="{D42A27DB-BD31-4B8C-83A1-F6EECF244321}">
                <p14:modId xmlns:p14="http://schemas.microsoft.com/office/powerpoint/2010/main" val="547342250"/>
              </p:ext>
            </p:extLst>
          </p:nvPr>
        </p:nvGraphicFramePr>
        <p:xfrm>
          <a:off x="1" y="626724"/>
          <a:ext cx="12020764" cy="589736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7649684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370313-3A37-8948-A430-D3F8E6D168F6}"/>
              </a:ext>
            </a:extLst>
          </p:cNvPr>
          <p:cNvGraphicFramePr>
            <a:graphicFrameLocks noChangeAspect="1"/>
          </p:cNvGraphicFramePr>
          <p:nvPr>
            <p:custDataLst>
              <p:tags r:id="rId2"/>
            </p:custDataLst>
            <p:extLst>
              <p:ext uri="{D42A27DB-BD31-4B8C-83A1-F6EECF244321}">
                <p14:modId xmlns:p14="http://schemas.microsoft.com/office/powerpoint/2010/main" val="36982613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80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AF0D5AE9-A75E-ED4A-99EB-9FD3CA25E3E1}"/>
              </a:ext>
            </a:extLst>
          </p:cNvPr>
          <p:cNvPicPr>
            <a:picLocks noChangeAspect="1"/>
          </p:cNvPicPr>
          <p:nvPr/>
        </p:nvPicPr>
        <p:blipFill>
          <a:blip r:embed="rId7"/>
          <a:stretch>
            <a:fillRect/>
          </a:stretch>
        </p:blipFill>
        <p:spPr>
          <a:xfrm>
            <a:off x="0" y="10205"/>
            <a:ext cx="12192000" cy="6837589"/>
          </a:xfrm>
          <a:prstGeom prst="rect">
            <a:avLst/>
          </a:prstGeom>
        </p:spPr>
      </p:pic>
    </p:spTree>
    <p:extLst>
      <p:ext uri="{BB962C8B-B14F-4D97-AF65-F5344CB8AC3E}">
        <p14:creationId xmlns:p14="http://schemas.microsoft.com/office/powerpoint/2010/main" val="5709250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96C54D-0272-934D-9F63-702852968738}"/>
              </a:ext>
            </a:extLst>
          </p:cNvPr>
          <p:cNvGraphicFramePr>
            <a:graphicFrameLocks noChangeAspect="1"/>
          </p:cNvGraphicFramePr>
          <p:nvPr>
            <p:custDataLst>
              <p:tags r:id="rId2"/>
            </p:custDataLst>
            <p:extLst>
              <p:ext uri="{D42A27DB-BD31-4B8C-83A1-F6EECF244321}">
                <p14:modId xmlns:p14="http://schemas.microsoft.com/office/powerpoint/2010/main" val="364804143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590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DAFE0CC5-61D0-3F4F-92DE-F4C9E8D5C1C0}"/>
              </a:ext>
            </a:extLst>
          </p:cNvPr>
          <p:cNvSpPr txBox="1"/>
          <p:nvPr/>
        </p:nvSpPr>
        <p:spPr>
          <a:xfrm>
            <a:off x="2790568" y="1936284"/>
            <a:ext cx="6610865" cy="2985433"/>
          </a:xfrm>
          <a:prstGeom prst="rect">
            <a:avLst/>
          </a:prstGeom>
          <a:noFill/>
        </p:spPr>
        <p:txBody>
          <a:bodyPr wrap="square" rtlCol="0">
            <a:spAutoFit/>
          </a:bodyPr>
          <a:lstStyle/>
          <a:p>
            <a:pPr algn="ctr"/>
            <a:r>
              <a:rPr lang="en-SA" sz="8000" dirty="0">
                <a:solidFill>
                  <a:schemeClr val="bg1"/>
                </a:solidFill>
                <a:latin typeface="+mj-lt"/>
              </a:rPr>
              <a:t>0.1 </a:t>
            </a:r>
            <a:r>
              <a:rPr lang="en-SA" sz="4400" dirty="0">
                <a:solidFill>
                  <a:schemeClr val="bg1"/>
                </a:solidFill>
                <a:latin typeface="+mj-lt"/>
              </a:rPr>
              <a:t>sec</a:t>
            </a:r>
            <a:endParaRPr lang="en-SA" sz="8000" dirty="0">
              <a:solidFill>
                <a:schemeClr val="bg1"/>
              </a:solidFill>
              <a:latin typeface="+mj-lt"/>
            </a:endParaRPr>
          </a:p>
          <a:p>
            <a:pPr algn="ctr"/>
            <a:endParaRPr lang="en-SA" sz="3600" dirty="0">
              <a:solidFill>
                <a:schemeClr val="bg1"/>
              </a:solidFill>
            </a:endParaRPr>
          </a:p>
          <a:p>
            <a:pPr algn="ctr"/>
            <a:endParaRPr lang="en-SA" sz="3600" dirty="0">
              <a:solidFill>
                <a:schemeClr val="bg1"/>
              </a:solidFill>
              <a:latin typeface="+mj-lt"/>
              <a:ea typeface="+mj-ea"/>
            </a:endParaRPr>
          </a:p>
          <a:p>
            <a:pPr algn="ctr"/>
            <a:r>
              <a:rPr lang="en-US" altLang="ko" sz="36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1% Lost Sales for Amazon</a:t>
            </a:r>
            <a:endParaRPr lang="en-SA" sz="3600" dirty="0">
              <a:solidFill>
                <a:schemeClr val="bg1"/>
              </a:solidFill>
              <a:latin typeface="+mj-lt"/>
              <a:ea typeface="+mj-ea"/>
            </a:endParaRPr>
          </a:p>
        </p:txBody>
      </p:sp>
    </p:spTree>
    <p:extLst>
      <p:ext uri="{BB962C8B-B14F-4D97-AF65-F5344CB8AC3E}">
        <p14:creationId xmlns:p14="http://schemas.microsoft.com/office/powerpoint/2010/main" val="31443268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F78FAE-AB79-624B-9BC1-EA984461DAF1}"/>
              </a:ext>
            </a:extLst>
          </p:cNvPr>
          <p:cNvGraphicFramePr>
            <a:graphicFrameLocks noChangeAspect="1"/>
          </p:cNvGraphicFramePr>
          <p:nvPr>
            <p:custDataLst>
              <p:tags r:id="rId2"/>
            </p:custDataLst>
            <p:extLst>
              <p:ext uri="{D42A27DB-BD31-4B8C-83A1-F6EECF244321}">
                <p14:modId xmlns:p14="http://schemas.microsoft.com/office/powerpoint/2010/main" val="12712185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00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DCDB6BBA-E43B-E140-85EA-D7EF0DDAB4BC}"/>
              </a:ext>
            </a:extLst>
          </p:cNvPr>
          <p:cNvSpPr/>
          <p:nvPr/>
        </p:nvSpPr>
        <p:spPr>
          <a:xfrm>
            <a:off x="4156750" y="5605902"/>
            <a:ext cx="3878498" cy="647870"/>
          </a:xfrm>
          <a:prstGeom prst="rect">
            <a:avLst/>
          </a:prstGeom>
        </p:spPr>
        <p:txBody>
          <a:bodyPr wrap="none">
            <a:spAutoFit/>
          </a:bodyPr>
          <a:lstStyle/>
          <a:p>
            <a:r>
              <a:rPr lang="en-SA" sz="1200" dirty="0">
                <a:solidFill>
                  <a:schemeClr val="bg1"/>
                </a:solidFill>
              </a:rPr>
              <a:t>https://developers.google.com/speed/pagespeed/insights/</a:t>
            </a:r>
          </a:p>
          <a:p>
            <a:r>
              <a:rPr lang="en-US" altLang="ko-KR" sz="1200" dirty="0">
                <a:solidFill>
                  <a:schemeClr val="bg1">
                    <a:lumMod val="95000"/>
                  </a:schemeClr>
                </a:solidFill>
                <a:ea typeface="맑은 고딕" panose="020B0503020000020004" pitchFamily="50" charset="-127"/>
                <a:cs typeface="Calibri" panose="020F0502020204030204" pitchFamily="34" charset="0"/>
              </a:rPr>
              <a:t>https://</a:t>
            </a:r>
            <a:r>
              <a:rPr lang="en-US" altLang="ko-KR" sz="1200" dirty="0" err="1">
                <a:solidFill>
                  <a:schemeClr val="bg1">
                    <a:lumMod val="95000"/>
                  </a:schemeClr>
                </a:solidFill>
                <a:ea typeface="맑은 고딕" panose="020B0503020000020004" pitchFamily="50" charset="-127"/>
                <a:cs typeface="Calibri" panose="020F0502020204030204" pitchFamily="34" charset="0"/>
              </a:rPr>
              <a:t>web.dev</a:t>
            </a:r>
            <a:r>
              <a:rPr lang="en-US" altLang="ko-KR" sz="1200" dirty="0">
                <a:solidFill>
                  <a:schemeClr val="bg1">
                    <a:lumMod val="95000"/>
                  </a:schemeClr>
                </a:solidFill>
                <a:ea typeface="맑은 고딕" panose="020B0503020000020004" pitchFamily="50" charset="-127"/>
                <a:cs typeface="Calibri" panose="020F0502020204030204" pitchFamily="34" charset="0"/>
              </a:rPr>
              <a:t>/measure/</a:t>
            </a:r>
          </a:p>
          <a:p>
            <a:endParaRPr lang="en-SA" sz="1200" dirty="0">
              <a:solidFill>
                <a:schemeClr val="bg1"/>
              </a:solidFill>
            </a:endParaRPr>
          </a:p>
        </p:txBody>
      </p:sp>
      <p:pic>
        <p:nvPicPr>
          <p:cNvPr id="79880" name="Picture 8" descr="PageSpeed Insights">
            <a:extLst>
              <a:ext uri="{FF2B5EF4-FFF2-40B4-BE49-F238E27FC236}">
                <a16:creationId xmlns:a16="http://schemas.microsoft.com/office/drawing/2014/main" id="{025BB131-9B68-874B-85B2-DE0F1B295C6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99353" y="1760931"/>
            <a:ext cx="1236647" cy="123664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A3A2A65D-73F2-4340-B4F9-7FB25E0FC8AD}"/>
              </a:ext>
            </a:extLst>
          </p:cNvPr>
          <p:cNvSpPr/>
          <p:nvPr/>
        </p:nvSpPr>
        <p:spPr>
          <a:xfrm>
            <a:off x="5177546" y="2086866"/>
            <a:ext cx="3439296" cy="584775"/>
          </a:xfrm>
          <a:prstGeom prst="rect">
            <a:avLst/>
          </a:prstGeom>
        </p:spPr>
        <p:txBody>
          <a:bodyPr wrap="square">
            <a:spAutoFit/>
          </a:bodyPr>
          <a:lstStyle/>
          <a:p>
            <a:pPr fontAlgn="t"/>
            <a:r>
              <a:rPr lang="en-US" sz="3200" dirty="0">
                <a:solidFill>
                  <a:schemeClr val="bg1"/>
                </a:solidFill>
                <a:latin typeface="Calibri" panose="020F0502020204030204" pitchFamily="34" charset="0"/>
              </a:rPr>
              <a:t>PageSpeed Insights</a:t>
            </a:r>
          </a:p>
        </p:txBody>
      </p:sp>
      <p:pic>
        <p:nvPicPr>
          <p:cNvPr id="6" name="Graphic 5">
            <a:extLst>
              <a:ext uri="{FF2B5EF4-FFF2-40B4-BE49-F238E27FC236}">
                <a16:creationId xmlns:a16="http://schemas.microsoft.com/office/drawing/2014/main" id="{B5EF9164-AF21-5A4D-8305-B68F186120FC}"/>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r="74287"/>
          <a:stretch/>
        </p:blipFill>
        <p:spPr>
          <a:xfrm>
            <a:off x="3890470" y="3900956"/>
            <a:ext cx="1134204" cy="996046"/>
          </a:xfrm>
          <a:prstGeom prst="rect">
            <a:avLst/>
          </a:prstGeom>
        </p:spPr>
      </p:pic>
      <p:pic>
        <p:nvPicPr>
          <p:cNvPr id="7" name="Graphic 6">
            <a:extLst>
              <a:ext uri="{FF2B5EF4-FFF2-40B4-BE49-F238E27FC236}">
                <a16:creationId xmlns:a16="http://schemas.microsoft.com/office/drawing/2014/main" id="{62A864AF-BAEF-0844-B6EE-EDAE68C0D0EA}"/>
              </a:ext>
            </a:extLst>
          </p:cNvPr>
          <p:cNvPicPr>
            <a:picLocks noChangeAspect="1"/>
          </p:cNvPicPr>
          <p:nvPr/>
        </p:nvPicPr>
        <p:blipFill rotWithShape="1">
          <a:blip r:embed="rId8">
            <a:lum bright="100000"/>
            <a:extLst>
              <a:ext uri="{28A0092B-C50C-407E-A947-70E740481C1C}">
                <a14:useLocalDpi xmlns:a14="http://schemas.microsoft.com/office/drawing/2010/main" val="0"/>
              </a:ext>
              <a:ext uri="{96DAC541-7B7A-43D3-8B79-37D633B846F1}">
                <asvg:svgBlip xmlns:asvg="http://schemas.microsoft.com/office/drawing/2016/SVG/main" r:embed="rId9"/>
              </a:ext>
            </a:extLst>
          </a:blip>
          <a:srcRect l="29178"/>
          <a:stretch/>
        </p:blipFill>
        <p:spPr>
          <a:xfrm>
            <a:off x="5177546" y="3900956"/>
            <a:ext cx="3123983" cy="996046"/>
          </a:xfrm>
          <a:prstGeom prst="rect">
            <a:avLst/>
          </a:prstGeom>
        </p:spPr>
      </p:pic>
    </p:spTree>
    <p:extLst>
      <p:ext uri="{BB962C8B-B14F-4D97-AF65-F5344CB8AC3E}">
        <p14:creationId xmlns:p14="http://schemas.microsoft.com/office/powerpoint/2010/main" val="41916692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3294D74-3977-EB4E-BD34-877F1576D8FE}"/>
              </a:ext>
            </a:extLst>
          </p:cNvPr>
          <p:cNvGraphicFramePr>
            <a:graphicFrameLocks noChangeAspect="1"/>
          </p:cNvGraphicFramePr>
          <p:nvPr>
            <p:custDataLst>
              <p:tags r:id="rId2"/>
            </p:custDataLst>
            <p:extLst>
              <p:ext uri="{D42A27DB-BD31-4B8C-83A1-F6EECF244321}">
                <p14:modId xmlns:p14="http://schemas.microsoft.com/office/powerpoint/2010/main" val="3801124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10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그림 개체 틀 2"/>
          <p:cNvPicPr>
            <a:picLocks noGrp="1" noChangeAspect="1"/>
          </p:cNvPicPr>
          <p:nvPr>
            <p:ph type="pic" sz="quarter" idx="14"/>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4022" r="4022"/>
          <a:stretch>
            <a:fillRect/>
          </a:stretch>
        </p:blipFill>
        <p:spPr/>
      </p:pic>
      <p:sp>
        <p:nvSpPr>
          <p:cNvPr id="5" name="직사각형 4"/>
          <p:cNvSpPr/>
          <p:nvPr/>
        </p:nvSpPr>
        <p:spPr>
          <a:xfrm>
            <a:off x="8003458" y="0"/>
            <a:ext cx="4188542" cy="685800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TextBox 5"/>
          <p:cNvSpPr txBox="1"/>
          <p:nvPr/>
        </p:nvSpPr>
        <p:spPr>
          <a:xfrm>
            <a:off x="1166560" y="1307812"/>
            <a:ext cx="4977065" cy="3139321"/>
          </a:xfrm>
          <a:prstGeom prst="rect">
            <a:avLst/>
          </a:prstGeom>
          <a:noFill/>
        </p:spPr>
        <p:txBody>
          <a:bodyPr wrap="square" rtlCol="0">
            <a:spAutoFit/>
          </a:bodyPr>
          <a:lstStyle/>
          <a:p>
            <a:r>
              <a:rPr lang="en-US" altLang="ko-KR" sz="166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UI</a:t>
            </a:r>
          </a:p>
          <a:p>
            <a:r>
              <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USER INTERFACE</a:t>
            </a:r>
          </a:p>
        </p:txBody>
      </p:sp>
    </p:spTree>
    <p:extLst>
      <p:ext uri="{BB962C8B-B14F-4D97-AF65-F5344CB8AC3E}">
        <p14:creationId xmlns:p14="http://schemas.microsoft.com/office/powerpoint/2010/main" val="1525600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3EED618-5DD4-8F4D-A7D0-A7B1D571E603}"/>
              </a:ext>
            </a:extLst>
          </p:cNvPr>
          <p:cNvGraphicFramePr>
            <a:graphicFrameLocks noChangeAspect="1"/>
          </p:cNvGraphicFramePr>
          <p:nvPr>
            <p:custDataLst>
              <p:tags r:id="rId2"/>
            </p:custDataLst>
            <p:extLst>
              <p:ext uri="{D42A27DB-BD31-4B8C-83A1-F6EECF244321}">
                <p14:modId xmlns:p14="http://schemas.microsoft.com/office/powerpoint/2010/main" val="266656641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599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D4432990-DF87-40B2-A86F-CCD41C408477}"/>
              </a:ext>
            </a:extLst>
          </p:cNvPr>
          <p:cNvGrpSpPr/>
          <p:nvPr/>
        </p:nvGrpSpPr>
        <p:grpSpPr>
          <a:xfrm>
            <a:off x="0" y="0"/>
            <a:ext cx="12192000" cy="12486028"/>
            <a:chOff x="0" y="0"/>
            <a:chExt cx="14443656" cy="14791985"/>
          </a:xfrm>
        </p:grpSpPr>
        <p:pic>
          <p:nvPicPr>
            <p:cNvPr id="2" name="Picture 1">
              <a:extLst>
                <a:ext uri="{FF2B5EF4-FFF2-40B4-BE49-F238E27FC236}">
                  <a16:creationId xmlns:a16="http://schemas.microsoft.com/office/drawing/2014/main" id="{004A3707-41EE-4127-B0DC-A4A62929CA3D}"/>
                </a:ext>
              </a:extLst>
            </p:cNvPr>
            <p:cNvPicPr>
              <a:picLocks noChangeAspect="1"/>
            </p:cNvPicPr>
            <p:nvPr/>
          </p:nvPicPr>
          <p:blipFill rotWithShape="1">
            <a:blip r:embed="rId7"/>
            <a:srcRect r="1276"/>
            <a:stretch/>
          </p:blipFill>
          <p:spPr>
            <a:xfrm>
              <a:off x="0" y="0"/>
              <a:ext cx="14443656" cy="8229600"/>
            </a:xfrm>
            <a:prstGeom prst="rect">
              <a:avLst/>
            </a:prstGeom>
          </p:spPr>
        </p:pic>
        <p:pic>
          <p:nvPicPr>
            <p:cNvPr id="3" name="Picture 2">
              <a:extLst>
                <a:ext uri="{FF2B5EF4-FFF2-40B4-BE49-F238E27FC236}">
                  <a16:creationId xmlns:a16="http://schemas.microsoft.com/office/drawing/2014/main" id="{C356EAC1-8C97-4755-BFA8-1539CD414FA6}"/>
                </a:ext>
              </a:extLst>
            </p:cNvPr>
            <p:cNvPicPr>
              <a:picLocks noChangeAspect="1"/>
            </p:cNvPicPr>
            <p:nvPr/>
          </p:nvPicPr>
          <p:blipFill rotWithShape="1">
            <a:blip r:embed="rId8"/>
            <a:srcRect r="1276"/>
            <a:stretch/>
          </p:blipFill>
          <p:spPr>
            <a:xfrm>
              <a:off x="0" y="6562385"/>
              <a:ext cx="14443656" cy="8229600"/>
            </a:xfrm>
            <a:prstGeom prst="rect">
              <a:avLst/>
            </a:prstGeom>
          </p:spPr>
        </p:pic>
      </p:grpSp>
    </p:spTree>
    <p:extLst>
      <p:ext uri="{BB962C8B-B14F-4D97-AF65-F5344CB8AC3E}">
        <p14:creationId xmlns:p14="http://schemas.microsoft.com/office/powerpoint/2010/main" val="9187577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9.25926E-7 L 0 -0.83835 " pathEditMode="relative" rAng="0" ptsTypes="AA">
                                      <p:cBhvr>
                                        <p:cTn id="6" dur="2000" fill="hold"/>
                                        <p:tgtEl>
                                          <p:spTgt spid="4"/>
                                        </p:tgtEl>
                                        <p:attrNameLst>
                                          <p:attrName>ppt_x</p:attrName>
                                          <p:attrName>ppt_y</p:attrName>
                                        </p:attrNameLst>
                                      </p:cBhvr>
                                      <p:rCtr x="0" y="-4191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32BF339-C042-1446-99DD-9BE707958227}"/>
              </a:ext>
            </a:extLst>
          </p:cNvPr>
          <p:cNvGraphicFramePr>
            <a:graphicFrameLocks noChangeAspect="1"/>
          </p:cNvGraphicFramePr>
          <p:nvPr>
            <p:custDataLst>
              <p:tags r:id="rId2"/>
            </p:custDataLst>
            <p:extLst>
              <p:ext uri="{D42A27DB-BD31-4B8C-83A1-F6EECF244321}">
                <p14:modId xmlns:p14="http://schemas.microsoft.com/office/powerpoint/2010/main" val="295122520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098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9722952D-66FF-4E7C-B059-1D1CD15E4A57}"/>
              </a:ext>
            </a:extLst>
          </p:cNvPr>
          <p:cNvGrpSpPr/>
          <p:nvPr/>
        </p:nvGrpSpPr>
        <p:grpSpPr>
          <a:xfrm>
            <a:off x="0" y="0"/>
            <a:ext cx="12192000" cy="19867978"/>
            <a:chOff x="0" y="0"/>
            <a:chExt cx="14366929" cy="23412224"/>
          </a:xfrm>
        </p:grpSpPr>
        <p:pic>
          <p:nvPicPr>
            <p:cNvPr id="2" name="Picture 1">
              <a:extLst>
                <a:ext uri="{FF2B5EF4-FFF2-40B4-BE49-F238E27FC236}">
                  <a16:creationId xmlns:a16="http://schemas.microsoft.com/office/drawing/2014/main" id="{6E771307-22CF-4D65-B1B0-2AEA14330720}"/>
                </a:ext>
              </a:extLst>
            </p:cNvPr>
            <p:cNvPicPr>
              <a:picLocks noChangeAspect="1"/>
            </p:cNvPicPr>
            <p:nvPr/>
          </p:nvPicPr>
          <p:blipFill rotWithShape="1">
            <a:blip r:embed="rId7"/>
            <a:srcRect r="1801"/>
            <a:stretch/>
          </p:blipFill>
          <p:spPr>
            <a:xfrm>
              <a:off x="0" y="0"/>
              <a:ext cx="14366929" cy="8229600"/>
            </a:xfrm>
            <a:prstGeom prst="rect">
              <a:avLst/>
            </a:prstGeom>
          </p:spPr>
        </p:pic>
        <p:pic>
          <p:nvPicPr>
            <p:cNvPr id="5" name="Picture 4">
              <a:extLst>
                <a:ext uri="{FF2B5EF4-FFF2-40B4-BE49-F238E27FC236}">
                  <a16:creationId xmlns:a16="http://schemas.microsoft.com/office/drawing/2014/main" id="{342EDD88-BE0B-43E0-9135-0879419901C1}"/>
                </a:ext>
              </a:extLst>
            </p:cNvPr>
            <p:cNvPicPr>
              <a:picLocks noChangeAspect="1"/>
            </p:cNvPicPr>
            <p:nvPr/>
          </p:nvPicPr>
          <p:blipFill rotWithShape="1">
            <a:blip r:embed="rId8"/>
            <a:srcRect t="5987" r="1801"/>
            <a:stretch/>
          </p:blipFill>
          <p:spPr>
            <a:xfrm>
              <a:off x="0" y="15675298"/>
              <a:ext cx="14366929" cy="7736926"/>
            </a:xfrm>
            <a:prstGeom prst="rect">
              <a:avLst/>
            </a:prstGeom>
          </p:spPr>
        </p:pic>
        <p:pic>
          <p:nvPicPr>
            <p:cNvPr id="3" name="Picture 2">
              <a:extLst>
                <a:ext uri="{FF2B5EF4-FFF2-40B4-BE49-F238E27FC236}">
                  <a16:creationId xmlns:a16="http://schemas.microsoft.com/office/drawing/2014/main" id="{B4848EBB-F754-48BF-9FB8-4001F71BA6F0}"/>
                </a:ext>
              </a:extLst>
            </p:cNvPr>
            <p:cNvPicPr>
              <a:picLocks noChangeAspect="1"/>
            </p:cNvPicPr>
            <p:nvPr/>
          </p:nvPicPr>
          <p:blipFill rotWithShape="1">
            <a:blip r:embed="rId9"/>
            <a:srcRect t="5987" r="1801"/>
            <a:stretch/>
          </p:blipFill>
          <p:spPr>
            <a:xfrm>
              <a:off x="0" y="7938373"/>
              <a:ext cx="14366929" cy="7736925"/>
            </a:xfrm>
            <a:prstGeom prst="rect">
              <a:avLst/>
            </a:prstGeom>
          </p:spPr>
        </p:pic>
        <p:sp>
          <p:nvSpPr>
            <p:cNvPr id="4" name="Rectangle 3">
              <a:extLst>
                <a:ext uri="{FF2B5EF4-FFF2-40B4-BE49-F238E27FC236}">
                  <a16:creationId xmlns:a16="http://schemas.microsoft.com/office/drawing/2014/main" id="{147A38FD-0860-4A90-AD83-3A3727AED1A0}"/>
                </a:ext>
              </a:extLst>
            </p:cNvPr>
            <p:cNvSpPr/>
            <p:nvPr/>
          </p:nvSpPr>
          <p:spPr>
            <a:xfrm>
              <a:off x="2386739" y="14847376"/>
              <a:ext cx="3301139" cy="13205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dirty="0"/>
            </a:p>
          </p:txBody>
        </p:sp>
      </p:grpSp>
    </p:spTree>
    <p:extLst>
      <p:ext uri="{BB962C8B-B14F-4D97-AF65-F5344CB8AC3E}">
        <p14:creationId xmlns:p14="http://schemas.microsoft.com/office/powerpoint/2010/main" val="4240866217"/>
      </p:ext>
    </p:extLst>
  </p:cSld>
  <p:clrMapOvr>
    <a:masterClrMapping/>
  </p:clrMapOvr>
  <mc:AlternateContent xmlns:mc="http://schemas.openxmlformats.org/markup-compatibility/2006" xmlns:p14="http://schemas.microsoft.com/office/powerpoint/2010/main">
    <mc:Choice Requires="p14">
      <p:transition spd="slow" p14:dur="15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62963E-6 L 0 -2.00406 " pathEditMode="relative" rAng="0" ptsTypes="AA">
                                      <p:cBhvr>
                                        <p:cTn id="6" dur="5000" fill="hold"/>
                                        <p:tgtEl>
                                          <p:spTgt spid="6"/>
                                        </p:tgtEl>
                                        <p:attrNameLst>
                                          <p:attrName>ppt_x</p:attrName>
                                          <p:attrName>ppt_y</p:attrName>
                                        </p:attrNameLst>
                                      </p:cBhvr>
                                      <p:rCtr x="0" y="-100212"/>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BAE11A0-9899-104F-81FC-20D9C0F8DE5D}"/>
              </a:ext>
            </a:extLst>
          </p:cNvPr>
          <p:cNvGraphicFramePr>
            <a:graphicFrameLocks noChangeAspect="1"/>
          </p:cNvGraphicFramePr>
          <p:nvPr>
            <p:custDataLst>
              <p:tags r:id="rId2"/>
            </p:custDataLst>
            <p:extLst>
              <p:ext uri="{D42A27DB-BD31-4B8C-83A1-F6EECF244321}">
                <p14:modId xmlns:p14="http://schemas.microsoft.com/office/powerpoint/2010/main" val="2491409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201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60B98FBA-CE7C-4004-90B6-0AFCF583AFE4}"/>
              </a:ext>
            </a:extLst>
          </p:cNvPr>
          <p:cNvGrpSpPr/>
          <p:nvPr/>
        </p:nvGrpSpPr>
        <p:grpSpPr>
          <a:xfrm>
            <a:off x="0" y="0"/>
            <a:ext cx="12192000" cy="17731948"/>
            <a:chOff x="0" y="0"/>
            <a:chExt cx="14245389" cy="20718381"/>
          </a:xfrm>
        </p:grpSpPr>
        <p:pic>
          <p:nvPicPr>
            <p:cNvPr id="2" name="Picture 1">
              <a:extLst>
                <a:ext uri="{FF2B5EF4-FFF2-40B4-BE49-F238E27FC236}">
                  <a16:creationId xmlns:a16="http://schemas.microsoft.com/office/drawing/2014/main" id="{FC79DDE4-286F-41E2-BD87-E59AA1005218}"/>
                </a:ext>
              </a:extLst>
            </p:cNvPr>
            <p:cNvPicPr>
              <a:picLocks noChangeAspect="1"/>
            </p:cNvPicPr>
            <p:nvPr/>
          </p:nvPicPr>
          <p:blipFill rotWithShape="1">
            <a:blip r:embed="rId7"/>
            <a:srcRect r="2631"/>
            <a:stretch/>
          </p:blipFill>
          <p:spPr>
            <a:xfrm>
              <a:off x="0" y="0"/>
              <a:ext cx="14245389" cy="8229600"/>
            </a:xfrm>
            <a:prstGeom prst="rect">
              <a:avLst/>
            </a:prstGeom>
          </p:spPr>
        </p:pic>
        <p:pic>
          <p:nvPicPr>
            <p:cNvPr id="3" name="Picture 2">
              <a:extLst>
                <a:ext uri="{FF2B5EF4-FFF2-40B4-BE49-F238E27FC236}">
                  <a16:creationId xmlns:a16="http://schemas.microsoft.com/office/drawing/2014/main" id="{25DF9991-8849-4E83-B80A-B07AFF6849ED}"/>
                </a:ext>
              </a:extLst>
            </p:cNvPr>
            <p:cNvPicPr>
              <a:picLocks noChangeAspect="1"/>
            </p:cNvPicPr>
            <p:nvPr/>
          </p:nvPicPr>
          <p:blipFill rotWithShape="1">
            <a:blip r:embed="rId8"/>
            <a:srcRect r="2631"/>
            <a:stretch/>
          </p:blipFill>
          <p:spPr>
            <a:xfrm>
              <a:off x="0" y="8229600"/>
              <a:ext cx="14245389" cy="8229600"/>
            </a:xfrm>
            <a:prstGeom prst="rect">
              <a:avLst/>
            </a:prstGeom>
          </p:spPr>
        </p:pic>
        <p:pic>
          <p:nvPicPr>
            <p:cNvPr id="4" name="Picture 3">
              <a:extLst>
                <a:ext uri="{FF2B5EF4-FFF2-40B4-BE49-F238E27FC236}">
                  <a16:creationId xmlns:a16="http://schemas.microsoft.com/office/drawing/2014/main" id="{C56D22AE-8316-4E5E-831E-90558CCDBDF2}"/>
                </a:ext>
              </a:extLst>
            </p:cNvPr>
            <p:cNvPicPr>
              <a:picLocks noChangeAspect="1"/>
            </p:cNvPicPr>
            <p:nvPr/>
          </p:nvPicPr>
          <p:blipFill rotWithShape="1">
            <a:blip r:embed="rId9"/>
            <a:srcRect r="2631"/>
            <a:stretch/>
          </p:blipFill>
          <p:spPr>
            <a:xfrm>
              <a:off x="0" y="12488781"/>
              <a:ext cx="14245389" cy="8229600"/>
            </a:xfrm>
            <a:prstGeom prst="rect">
              <a:avLst/>
            </a:prstGeom>
          </p:spPr>
        </p:pic>
      </p:grpSp>
    </p:spTree>
    <p:extLst>
      <p:ext uri="{BB962C8B-B14F-4D97-AF65-F5344CB8AC3E}">
        <p14:creationId xmlns:p14="http://schemas.microsoft.com/office/powerpoint/2010/main" val="4113247825"/>
      </p:ext>
    </p:extLst>
  </p:cSld>
  <p:clrMapOvr>
    <a:masterClrMapping/>
  </p:clrMapOvr>
  <mc:AlternateContent xmlns:mc="http://schemas.openxmlformats.org/markup-compatibility/2006" xmlns:p14="http://schemas.microsoft.com/office/powerpoint/2010/main">
    <mc:Choice Requires="p14">
      <p:transition spd="slow" p14:dur="10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07407E-6 L 0 -1.6466 " pathEditMode="relative" rAng="0" ptsTypes="AA">
                                      <p:cBhvr>
                                        <p:cTn id="6" dur="10000" fill="hold"/>
                                        <p:tgtEl>
                                          <p:spTgt spid="5"/>
                                        </p:tgtEl>
                                        <p:attrNameLst>
                                          <p:attrName>ppt_x</p:attrName>
                                          <p:attrName>ppt_y</p:attrName>
                                        </p:attrNameLst>
                                      </p:cBhvr>
                                      <p:rCtr x="0" y="-823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652162-7720-7B4E-A760-CD7ED393C8F6}"/>
              </a:ext>
            </a:extLst>
          </p:cNvPr>
          <p:cNvGraphicFramePr>
            <a:graphicFrameLocks noChangeAspect="1"/>
          </p:cNvGraphicFramePr>
          <p:nvPr>
            <p:custDataLst>
              <p:tags r:id="rId2"/>
            </p:custDataLst>
            <p:extLst>
              <p:ext uri="{D42A27DB-BD31-4B8C-83A1-F6EECF244321}">
                <p14:modId xmlns:p14="http://schemas.microsoft.com/office/powerpoint/2010/main" val="406814237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30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7089B78-764D-4810-9511-82D037FA800B}"/>
              </a:ext>
            </a:extLst>
          </p:cNvPr>
          <p:cNvPicPr>
            <a:picLocks noChangeAspect="1"/>
          </p:cNvPicPr>
          <p:nvPr/>
        </p:nvPicPr>
        <p:blipFill>
          <a:blip r:embed="rId7"/>
          <a:stretch>
            <a:fillRect/>
          </a:stretch>
        </p:blipFill>
        <p:spPr>
          <a:xfrm>
            <a:off x="0" y="0"/>
            <a:ext cx="12192000" cy="6858000"/>
          </a:xfrm>
          <a:prstGeom prst="rect">
            <a:avLst/>
          </a:prstGeom>
        </p:spPr>
      </p:pic>
      <p:pic>
        <p:nvPicPr>
          <p:cNvPr id="2050" name="Picture 2">
            <a:extLst>
              <a:ext uri="{FF2B5EF4-FFF2-40B4-BE49-F238E27FC236}">
                <a16:creationId xmlns:a16="http://schemas.microsoft.com/office/drawing/2014/main" id="{0ACD364F-9C8E-4610-B32D-AA52B5B60D33}"/>
              </a:ext>
            </a:extLst>
          </p:cNvPr>
          <p:cNvPicPr>
            <a:picLocks noChangeAspect="1" noChangeArrowheads="1" noCrop="1"/>
          </p:cNvPicPr>
          <p:nvPr/>
        </p:nvPicPr>
        <p:blipFill>
          <a:blip r:embed="rId8">
            <a:extLst>
              <a:ext uri="{28A0092B-C50C-407E-A947-70E740481C1C}">
                <a14:useLocalDpi xmlns:a14="http://schemas.microsoft.com/office/drawing/2010/main" val="0"/>
              </a:ext>
            </a:extLst>
          </a:blip>
          <a:srcRect/>
          <a:stretch>
            <a:fillRect/>
          </a:stretch>
        </p:blipFill>
        <p:spPr bwMode="auto">
          <a:xfrm>
            <a:off x="9571843" y="2151101"/>
            <a:ext cx="2125213" cy="91080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a:extLst>
              <a:ext uri="{FF2B5EF4-FFF2-40B4-BE49-F238E27FC236}">
                <a16:creationId xmlns:a16="http://schemas.microsoft.com/office/drawing/2014/main" id="{DE959B92-026C-431A-A1C3-72B2963EA850}"/>
              </a:ext>
            </a:extLst>
          </p:cNvPr>
          <p:cNvPicPr>
            <a:picLocks noChangeAspect="1" noChangeArrowheads="1" noCrop="1"/>
          </p:cNvPicPr>
          <p:nvPr/>
        </p:nvPicPr>
        <p:blipFill>
          <a:blip r:embed="rId9">
            <a:extLst>
              <a:ext uri="{28A0092B-C50C-407E-A947-70E740481C1C}">
                <a14:useLocalDpi xmlns:a14="http://schemas.microsoft.com/office/drawing/2010/main" val="0"/>
              </a:ext>
            </a:extLst>
          </a:blip>
          <a:srcRect/>
          <a:stretch>
            <a:fillRect/>
          </a:stretch>
        </p:blipFill>
        <p:spPr bwMode="auto">
          <a:xfrm>
            <a:off x="9571843" y="3454353"/>
            <a:ext cx="2125213" cy="91080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2931B7EB-571E-429F-BD39-5651419C6115}"/>
              </a:ext>
            </a:extLst>
          </p:cNvPr>
          <p:cNvPicPr>
            <a:picLocks noChangeAspect="1" noChangeArrowheads="1" noCrop="1"/>
          </p:cNvPicPr>
          <p:nvPr/>
        </p:nvPicPr>
        <p:blipFill>
          <a:blip r:embed="rId10">
            <a:extLst>
              <a:ext uri="{28A0092B-C50C-407E-A947-70E740481C1C}">
                <a14:useLocalDpi xmlns:a14="http://schemas.microsoft.com/office/drawing/2010/main" val="0"/>
              </a:ext>
            </a:extLst>
          </a:blip>
          <a:srcRect/>
          <a:stretch>
            <a:fillRect/>
          </a:stretch>
        </p:blipFill>
        <p:spPr bwMode="auto">
          <a:xfrm>
            <a:off x="9571843" y="4757605"/>
            <a:ext cx="2125213" cy="9108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99607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54BC57E-9E8D-4C47-8233-0EDF91A5EB2F}"/>
              </a:ext>
            </a:extLst>
          </p:cNvPr>
          <p:cNvGraphicFramePr>
            <a:graphicFrameLocks noChangeAspect="1"/>
          </p:cNvGraphicFramePr>
          <p:nvPr>
            <p:custDataLst>
              <p:tags r:id="rId2"/>
            </p:custDataLst>
            <p:extLst>
              <p:ext uri="{D42A27DB-BD31-4B8C-83A1-F6EECF244321}">
                <p14:modId xmlns:p14="http://schemas.microsoft.com/office/powerpoint/2010/main" val="6961593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624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220DF9B9-48D4-434A-ACC7-F13BC912AA3B}"/>
              </a:ext>
            </a:extLst>
          </p:cNvPr>
          <p:cNvSpPr>
            <a:spLocks noGrp="1"/>
          </p:cNvSpPr>
          <p:nvPr>
            <p:ph type="title"/>
          </p:nvPr>
        </p:nvSpPr>
        <p:spPr/>
        <p:txBody>
          <a:bodyPr vert="horz"/>
          <a:lstStyle/>
          <a:p>
            <a:r>
              <a:rPr lang="en-US" altLang="ko-KR" dirty="0"/>
              <a:t>AGENDA</a:t>
            </a:r>
            <a:endParaRPr lang="ko-KR" altLang="en-US" dirty="0"/>
          </a:p>
        </p:txBody>
      </p:sp>
      <p:sp>
        <p:nvSpPr>
          <p:cNvPr id="5" name="모서리가 둥근 직사각형 4">
            <a:extLst>
              <a:ext uri="{FF2B5EF4-FFF2-40B4-BE49-F238E27FC236}">
                <a16:creationId xmlns:a16="http://schemas.microsoft.com/office/drawing/2014/main" id="{C3D85EFC-3C97-45AD-BD19-83F037B59907}"/>
              </a:ext>
            </a:extLst>
          </p:cNvPr>
          <p:cNvSpPr/>
          <p:nvPr/>
        </p:nvSpPr>
        <p:spPr>
          <a:xfrm flipH="1">
            <a:off x="1188720" y="3875851"/>
            <a:ext cx="9814560" cy="211461"/>
          </a:xfrm>
          <a:prstGeom prst="rect">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grpSp>
        <p:nvGrpSpPr>
          <p:cNvPr id="3" name="Group 2">
            <a:extLst>
              <a:ext uri="{FF2B5EF4-FFF2-40B4-BE49-F238E27FC236}">
                <a16:creationId xmlns:a16="http://schemas.microsoft.com/office/drawing/2014/main" id="{DA88061B-96E5-6142-A5BE-F19235F23E61}"/>
              </a:ext>
            </a:extLst>
          </p:cNvPr>
          <p:cNvGrpSpPr/>
          <p:nvPr/>
        </p:nvGrpSpPr>
        <p:grpSpPr>
          <a:xfrm>
            <a:off x="1656146" y="3449255"/>
            <a:ext cx="1076961" cy="1076961"/>
            <a:chOff x="2142853" y="3449255"/>
            <a:chExt cx="1076961" cy="1076961"/>
          </a:xfrm>
        </p:grpSpPr>
        <p:sp>
          <p:nvSpPr>
            <p:cNvPr id="10" name="타원 9">
              <a:extLst>
                <a:ext uri="{FF2B5EF4-FFF2-40B4-BE49-F238E27FC236}">
                  <a16:creationId xmlns:a16="http://schemas.microsoft.com/office/drawing/2014/main" id="{E954909D-E5E9-41E0-9C5D-BDABF01CA8DF}"/>
                </a:ext>
              </a:extLst>
            </p:cNvPr>
            <p:cNvSpPr/>
            <p:nvPr/>
          </p:nvSpPr>
          <p:spPr>
            <a:xfrm>
              <a:off x="2142853" y="3449255"/>
              <a:ext cx="1076961" cy="1076961"/>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sp>
          <p:nvSpPr>
            <p:cNvPr id="11" name="타원 10">
              <a:extLst>
                <a:ext uri="{FF2B5EF4-FFF2-40B4-BE49-F238E27FC236}">
                  <a16:creationId xmlns:a16="http://schemas.microsoft.com/office/drawing/2014/main" id="{DE7C0740-51EF-4697-9C12-F76793E3A0E1}"/>
                </a:ext>
              </a:extLst>
            </p:cNvPr>
            <p:cNvSpPr/>
            <p:nvPr/>
          </p:nvSpPr>
          <p:spPr>
            <a:xfrm>
              <a:off x="2364142" y="3670544"/>
              <a:ext cx="634382" cy="634382"/>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sp>
          <p:nvSpPr>
            <p:cNvPr id="12" name="타원 11">
              <a:extLst>
                <a:ext uri="{FF2B5EF4-FFF2-40B4-BE49-F238E27FC236}">
                  <a16:creationId xmlns:a16="http://schemas.microsoft.com/office/drawing/2014/main" id="{F86F03BC-9DA0-43C3-B416-F69F99414499}"/>
                </a:ext>
              </a:extLst>
            </p:cNvPr>
            <p:cNvSpPr/>
            <p:nvPr/>
          </p:nvSpPr>
          <p:spPr>
            <a:xfrm>
              <a:off x="2577093" y="3875851"/>
              <a:ext cx="211461" cy="211461"/>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grpSp>
      <p:sp>
        <p:nvSpPr>
          <p:cNvPr id="18" name="Text Box 8">
            <a:extLst>
              <a:ext uri="{FF2B5EF4-FFF2-40B4-BE49-F238E27FC236}">
                <a16:creationId xmlns:a16="http://schemas.microsoft.com/office/drawing/2014/main" id="{A3BEEB68-2C3A-4AFC-ACDD-1E7E3E7B91AE}"/>
              </a:ext>
            </a:extLst>
          </p:cNvPr>
          <p:cNvSpPr txBox="1">
            <a:spLocks noChangeArrowheads="1"/>
          </p:cNvSpPr>
          <p:nvPr/>
        </p:nvSpPr>
        <p:spPr bwMode="auto">
          <a:xfrm>
            <a:off x="1167999" y="3030008"/>
            <a:ext cx="2050374" cy="369332"/>
          </a:xfrm>
          <a:prstGeom prst="rect">
            <a:avLst/>
          </a:prstGeom>
          <a:noFill/>
          <a:ln w="9525">
            <a:noFill/>
            <a:miter lim="800000"/>
            <a:headEnd/>
            <a:tailEnd/>
          </a:ln>
          <a:effectLst/>
        </p:spPr>
        <p:txBody>
          <a:bodyPr wrap="square">
            <a:spAutoFit/>
          </a:bodyPr>
          <a:lstStyle/>
          <a:p>
            <a:pPr algn="ctr">
              <a:defRPr/>
            </a:pPr>
            <a:r>
              <a:rPr lang="en-US" altLang="ko-KR" dirty="0">
                <a:solidFill>
                  <a:schemeClr val="bg1"/>
                </a:solidFill>
                <a:latin typeface="+mj-lt"/>
                <a:ea typeface="맑은 고딕" panose="020B0503020000020004" pitchFamily="50" charset="-127"/>
              </a:rPr>
              <a:t>PWA</a:t>
            </a:r>
            <a:endParaRPr lang="ko-KR" altLang="ko-KR" dirty="0">
              <a:solidFill>
                <a:schemeClr val="bg1"/>
              </a:solidFill>
              <a:latin typeface="+mj-lt"/>
              <a:ea typeface="맑은 고딕" panose="020B0503020000020004" pitchFamily="50" charset="-127"/>
            </a:endParaRPr>
          </a:p>
        </p:txBody>
      </p:sp>
      <p:sp>
        <p:nvSpPr>
          <p:cNvPr id="26" name="TextBox 25">
            <a:extLst>
              <a:ext uri="{FF2B5EF4-FFF2-40B4-BE49-F238E27FC236}">
                <a16:creationId xmlns:a16="http://schemas.microsoft.com/office/drawing/2014/main" id="{96CFACE9-D533-4566-84D3-5A62973D35DE}"/>
              </a:ext>
            </a:extLst>
          </p:cNvPr>
          <p:cNvSpPr txBox="1"/>
          <p:nvPr/>
        </p:nvSpPr>
        <p:spPr>
          <a:xfrm>
            <a:off x="1314378" y="4548192"/>
            <a:ext cx="1757616" cy="641586"/>
          </a:xfrm>
          <a:prstGeom prst="rect">
            <a:avLst/>
          </a:prstGeom>
          <a:noFill/>
        </p:spPr>
        <p:txBody>
          <a:bodyPr wrap="square" rtlCol="0">
            <a:spAutoFit/>
          </a:bodyPr>
          <a:lstStyle/>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What is it?</a:t>
            </a:r>
          </a:p>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Advantages</a:t>
            </a:r>
          </a:p>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How to implement it</a:t>
            </a:r>
          </a:p>
        </p:txBody>
      </p:sp>
      <p:sp>
        <p:nvSpPr>
          <p:cNvPr id="28" name="Text Box 8">
            <a:extLst>
              <a:ext uri="{FF2B5EF4-FFF2-40B4-BE49-F238E27FC236}">
                <a16:creationId xmlns:a16="http://schemas.microsoft.com/office/drawing/2014/main" id="{66C0BF17-E708-411C-9588-8064D8A1914F}"/>
              </a:ext>
            </a:extLst>
          </p:cNvPr>
          <p:cNvSpPr txBox="1">
            <a:spLocks noChangeArrowheads="1"/>
          </p:cNvSpPr>
          <p:nvPr/>
        </p:nvSpPr>
        <p:spPr bwMode="auto">
          <a:xfrm>
            <a:off x="4639197" y="3030008"/>
            <a:ext cx="2828890" cy="369332"/>
          </a:xfrm>
          <a:prstGeom prst="rect">
            <a:avLst/>
          </a:prstGeom>
          <a:noFill/>
          <a:ln w="9525">
            <a:noFill/>
            <a:miter lim="800000"/>
            <a:headEnd/>
            <a:tailEnd/>
          </a:ln>
          <a:effectLst/>
        </p:spPr>
        <p:txBody>
          <a:bodyPr wrap="square">
            <a:spAutoFit/>
          </a:bodyPr>
          <a:lstStyle/>
          <a:p>
            <a:pPr algn="ctr">
              <a:defRPr/>
            </a:pPr>
            <a:r>
              <a:rPr lang="en-US" altLang="ko-KR" dirty="0">
                <a:solidFill>
                  <a:schemeClr val="bg1"/>
                </a:solidFill>
                <a:latin typeface="+mj-lt"/>
                <a:ea typeface="맑은 고딕" panose="020B0503020000020004" pitchFamily="50" charset="-127"/>
              </a:rPr>
              <a:t>INTELLIGENT TECH.</a:t>
            </a:r>
            <a:endParaRPr lang="ko-KR" altLang="ko-KR" dirty="0">
              <a:solidFill>
                <a:schemeClr val="bg1"/>
              </a:solidFill>
              <a:latin typeface="+mj-lt"/>
              <a:ea typeface="맑은 고딕" panose="020B0503020000020004" pitchFamily="50" charset="-127"/>
            </a:endParaRPr>
          </a:p>
        </p:txBody>
      </p:sp>
      <p:sp>
        <p:nvSpPr>
          <p:cNvPr id="29" name="TextBox 28">
            <a:extLst>
              <a:ext uri="{FF2B5EF4-FFF2-40B4-BE49-F238E27FC236}">
                <a16:creationId xmlns:a16="http://schemas.microsoft.com/office/drawing/2014/main" id="{177DE172-4BF8-4E93-AE73-34D88BD828A1}"/>
              </a:ext>
            </a:extLst>
          </p:cNvPr>
          <p:cNvSpPr txBox="1"/>
          <p:nvPr/>
        </p:nvSpPr>
        <p:spPr>
          <a:xfrm>
            <a:off x="5174834" y="4548192"/>
            <a:ext cx="1757616" cy="641586"/>
          </a:xfrm>
          <a:prstGeom prst="rect">
            <a:avLst/>
          </a:prstGeom>
          <a:noFill/>
        </p:spPr>
        <p:txBody>
          <a:bodyPr wrap="square" rtlCol="0">
            <a:spAutoFit/>
          </a:bodyPr>
          <a:lstStyle/>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Blockchain</a:t>
            </a:r>
          </a:p>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ML</a:t>
            </a:r>
          </a:p>
          <a:p>
            <a:pPr marL="171450" indent="-171450">
              <a:lnSpc>
                <a:spcPct val="110000"/>
              </a:lnSpc>
              <a:buFont typeface="Arial" panose="020B0604020202020204" pitchFamily="34" charset="0"/>
              <a:buChar char="•"/>
            </a:pPr>
            <a:r>
              <a:rPr lang="en-US" altLang="ko-KR" sz="1100" dirty="0">
                <a:solidFill>
                  <a:schemeClr val="bg1">
                    <a:lumMod val="95000"/>
                  </a:schemeClr>
                </a:solidFill>
                <a:ea typeface="맑은 고딕" panose="020B0503020000020004" pitchFamily="50" charset="-127"/>
                <a:cs typeface="Calibri" panose="020F0502020204030204" pitchFamily="34" charset="0"/>
              </a:rPr>
              <a:t>Reflect on your startup</a:t>
            </a:r>
          </a:p>
        </p:txBody>
      </p:sp>
      <p:sp>
        <p:nvSpPr>
          <p:cNvPr id="32" name="Text Box 8">
            <a:extLst>
              <a:ext uri="{FF2B5EF4-FFF2-40B4-BE49-F238E27FC236}">
                <a16:creationId xmlns:a16="http://schemas.microsoft.com/office/drawing/2014/main" id="{85F0E081-0042-4919-8500-5A5BE45C5A0D}"/>
              </a:ext>
            </a:extLst>
          </p:cNvPr>
          <p:cNvSpPr txBox="1">
            <a:spLocks noChangeArrowheads="1"/>
          </p:cNvSpPr>
          <p:nvPr/>
        </p:nvSpPr>
        <p:spPr bwMode="auto">
          <a:xfrm>
            <a:off x="8888911" y="3030008"/>
            <a:ext cx="2050374" cy="369332"/>
          </a:xfrm>
          <a:prstGeom prst="rect">
            <a:avLst/>
          </a:prstGeom>
          <a:noFill/>
          <a:ln w="9525">
            <a:noFill/>
            <a:miter lim="800000"/>
            <a:headEnd/>
            <a:tailEnd/>
          </a:ln>
          <a:effectLst/>
        </p:spPr>
        <p:txBody>
          <a:bodyPr wrap="square">
            <a:spAutoFit/>
          </a:bodyPr>
          <a:lstStyle/>
          <a:p>
            <a:pPr algn="ctr">
              <a:defRPr/>
            </a:pPr>
            <a:r>
              <a:rPr lang="en-US" altLang="ko-KR" dirty="0">
                <a:solidFill>
                  <a:schemeClr val="bg1"/>
                </a:solidFill>
                <a:latin typeface="+mj-lt"/>
                <a:ea typeface="맑은 고딕" panose="020B0503020000020004" pitchFamily="50" charset="-127"/>
              </a:rPr>
              <a:t>Q&amp;A</a:t>
            </a:r>
            <a:endParaRPr lang="ko-KR" altLang="ko-KR" dirty="0">
              <a:solidFill>
                <a:schemeClr val="bg1"/>
              </a:solidFill>
              <a:latin typeface="+mj-lt"/>
              <a:ea typeface="맑은 고딕" panose="020B0503020000020004" pitchFamily="50" charset="-127"/>
            </a:endParaRPr>
          </a:p>
        </p:txBody>
      </p:sp>
      <p:sp>
        <p:nvSpPr>
          <p:cNvPr id="21" name="TextBox 20">
            <a:extLst>
              <a:ext uri="{FF2B5EF4-FFF2-40B4-BE49-F238E27FC236}">
                <a16:creationId xmlns:a16="http://schemas.microsoft.com/office/drawing/2014/main" id="{47058CF2-5668-9145-BE54-C49DBCEC17D4}"/>
              </a:ext>
            </a:extLst>
          </p:cNvPr>
          <p:cNvSpPr txBox="1"/>
          <p:nvPr/>
        </p:nvSpPr>
        <p:spPr>
          <a:xfrm>
            <a:off x="9035290" y="4641294"/>
            <a:ext cx="1757616" cy="641586"/>
          </a:xfrm>
          <a:prstGeom prst="rect">
            <a:avLst/>
          </a:prstGeom>
          <a:noFill/>
        </p:spPr>
        <p:txBody>
          <a:bodyPr wrap="square" rtlCol="0">
            <a:spAutoFit/>
          </a:bodyPr>
          <a:lstStyle/>
          <a:p>
            <a:pP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Feel free to interrupt any time</a:t>
            </a:r>
          </a:p>
          <a:p>
            <a:pP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a:t>
            </a:r>
          </a:p>
        </p:txBody>
      </p:sp>
    </p:spTree>
    <p:extLst>
      <p:ext uri="{BB962C8B-B14F-4D97-AF65-F5344CB8AC3E}">
        <p14:creationId xmlns:p14="http://schemas.microsoft.com/office/powerpoint/2010/main" val="178570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63" presetClass="path" presetSubtype="0" accel="50000" decel="50000" fill="hold" nodeType="afterEffect">
                                  <p:stCondLst>
                                    <p:cond delay="0"/>
                                  </p:stCondLst>
                                  <p:childTnLst>
                                    <p:animMotion origin="layout" path="M 2.08333E-6 -1.48148E-6 L 0.6332 -1.48148E-6 " pathEditMode="relative" rAng="0" ptsTypes="AA">
                                      <p:cBhvr>
                                        <p:cTn id="10" dur="5000" fill="hold"/>
                                        <p:tgtEl>
                                          <p:spTgt spid="3"/>
                                        </p:tgtEl>
                                        <p:attrNameLst>
                                          <p:attrName>ppt_x</p:attrName>
                                          <p:attrName>ppt_y</p:attrName>
                                        </p:attrNameLst>
                                      </p:cBhvr>
                                      <p:rCtr x="31654"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8D8921-3146-A046-8222-7B84D1FCFFA3}"/>
              </a:ext>
            </a:extLst>
          </p:cNvPr>
          <p:cNvGraphicFramePr>
            <a:graphicFrameLocks noChangeAspect="1"/>
          </p:cNvGraphicFramePr>
          <p:nvPr>
            <p:custDataLst>
              <p:tags r:id="rId2"/>
            </p:custDataLst>
            <p:extLst>
              <p:ext uri="{D42A27DB-BD31-4B8C-83A1-F6EECF244321}">
                <p14:modId xmlns:p14="http://schemas.microsoft.com/office/powerpoint/2010/main" val="333149783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406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EC056663-71F5-EF42-B43F-B2DE157AA0CC}"/>
              </a:ext>
            </a:extLst>
          </p:cNvPr>
          <p:cNvSpPr txBox="1"/>
          <p:nvPr/>
        </p:nvSpPr>
        <p:spPr>
          <a:xfrm>
            <a:off x="4847119" y="1284236"/>
            <a:ext cx="5084281" cy="1569660"/>
          </a:xfrm>
          <a:prstGeom prst="rect">
            <a:avLst/>
          </a:prstGeom>
          <a:noFill/>
        </p:spPr>
        <p:txBody>
          <a:bodyPr wrap="square" rtlCol="0">
            <a:spAutoFit/>
          </a:bodyPr>
          <a:lstStyle/>
          <a:p>
            <a:pPr marL="285750" indent="-285750">
              <a:buFont typeface="Arial" panose="020B0604020202020204" pitchFamily="34" charset="0"/>
              <a:buChar char="•"/>
            </a:pPr>
            <a:r>
              <a:rPr lang="en-US" sz="2400" dirty="0">
                <a:solidFill>
                  <a:schemeClr val="bg1"/>
                </a:solidFill>
              </a:rPr>
              <a:t>Mobile</a:t>
            </a:r>
            <a:endParaRPr lang="en-SA" sz="2400" dirty="0">
              <a:solidFill>
                <a:schemeClr val="bg1"/>
              </a:solidFill>
            </a:endParaRPr>
          </a:p>
          <a:p>
            <a:pPr marL="285750" indent="-285750">
              <a:buFont typeface="Arial" panose="020B0604020202020204" pitchFamily="34" charset="0"/>
              <a:buChar char="•"/>
            </a:pPr>
            <a:r>
              <a:rPr lang="en-SA" sz="2400" dirty="0">
                <a:solidFill>
                  <a:schemeClr val="bg1"/>
                </a:solidFill>
              </a:rPr>
              <a:t>Desktop/Laptop</a:t>
            </a:r>
          </a:p>
          <a:p>
            <a:pPr marL="285750" indent="-285750">
              <a:buFont typeface="Arial" panose="020B0604020202020204" pitchFamily="34" charset="0"/>
              <a:buChar char="•"/>
            </a:pPr>
            <a:r>
              <a:rPr lang="en-SA" sz="2400" dirty="0">
                <a:solidFill>
                  <a:schemeClr val="bg1"/>
                </a:solidFill>
              </a:rPr>
              <a:t>Tablet</a:t>
            </a:r>
          </a:p>
          <a:p>
            <a:pPr marL="285750" indent="-285750">
              <a:buFont typeface="Arial" panose="020B0604020202020204" pitchFamily="34" charset="0"/>
              <a:buChar char="•"/>
            </a:pPr>
            <a:r>
              <a:rPr lang="en-SA" sz="2400" dirty="0">
                <a:solidFill>
                  <a:schemeClr val="bg1"/>
                </a:solidFill>
              </a:rPr>
              <a:t>TV</a:t>
            </a:r>
          </a:p>
        </p:txBody>
      </p:sp>
      <p:pic>
        <p:nvPicPr>
          <p:cNvPr id="463901" name="Picture 29" descr="black flat screen computer monitor on white table">
            <a:extLst>
              <a:ext uri="{FF2B5EF4-FFF2-40B4-BE49-F238E27FC236}">
                <a16:creationId xmlns:a16="http://schemas.microsoft.com/office/drawing/2014/main" id="{76482B70-9230-FE45-BABF-B92DE7555CC6}"/>
              </a:ext>
            </a:extLst>
          </p:cNvPr>
          <p:cNvPicPr>
            <a:picLocks noChangeAspect="1" noChangeArrowheads="1"/>
          </p:cNvPicPr>
          <p:nvPr/>
        </p:nvPicPr>
        <p:blipFill>
          <a:blip r:embed="rId7">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a:off x="0" y="0"/>
            <a:ext cx="3857625" cy="6858000"/>
          </a:xfrm>
          <a:prstGeom prst="rect">
            <a:avLst/>
          </a:prstGeom>
          <a:noFill/>
          <a:extLst>
            <a:ext uri="{909E8E84-426E-40DD-AFC4-6F175D3DCCD1}">
              <a14:hiddenFill xmlns:a14="http://schemas.microsoft.com/office/drawing/2010/main">
                <a:solidFill>
                  <a:srgbClr val="FFFFFF"/>
                </a:solidFill>
              </a14:hiddenFill>
            </a:ext>
          </a:extLst>
        </p:spPr>
      </p:pic>
      <p:sp>
        <p:nvSpPr>
          <p:cNvPr id="8" name="직사각형 14">
            <a:extLst>
              <a:ext uri="{FF2B5EF4-FFF2-40B4-BE49-F238E27FC236}">
                <a16:creationId xmlns:a16="http://schemas.microsoft.com/office/drawing/2014/main" id="{0A1DC6C8-6ECF-3E44-A205-F8138F6AF952}"/>
              </a:ext>
            </a:extLst>
          </p:cNvPr>
          <p:cNvSpPr/>
          <p:nvPr/>
        </p:nvSpPr>
        <p:spPr>
          <a:xfrm>
            <a:off x="0" y="0"/>
            <a:ext cx="3857625" cy="6858000"/>
          </a:xfrm>
          <a:prstGeom prst="rect">
            <a:avLst/>
          </a:prstGeom>
          <a:gradFill>
            <a:gsLst>
              <a:gs pos="0">
                <a:srgbClr val="B34768">
                  <a:alpha val="30000"/>
                </a:srgbClr>
              </a:gs>
              <a:gs pos="100000">
                <a:srgbClr val="3E8E86">
                  <a:alpha val="40000"/>
                </a:srgbClr>
              </a:gs>
              <a:gs pos="50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Rectangle 1">
            <a:extLst>
              <a:ext uri="{FF2B5EF4-FFF2-40B4-BE49-F238E27FC236}">
                <a16:creationId xmlns:a16="http://schemas.microsoft.com/office/drawing/2014/main" id="{FABCA3CE-E631-B744-A5AF-E832AC7E35DA}"/>
              </a:ext>
            </a:extLst>
          </p:cNvPr>
          <p:cNvSpPr/>
          <p:nvPr/>
        </p:nvSpPr>
        <p:spPr>
          <a:xfrm>
            <a:off x="8574033" y="1629923"/>
            <a:ext cx="2346861" cy="369332"/>
          </a:xfrm>
          <a:prstGeom prst="rect">
            <a:avLst/>
          </a:prstGeom>
        </p:spPr>
        <p:txBody>
          <a:bodyPr wrap="none">
            <a:spAutoFit/>
          </a:bodyPr>
          <a:lstStyle/>
          <a:p>
            <a:r>
              <a:rPr lang="en-US" dirty="0">
                <a:solidFill>
                  <a:schemeClr val="bg1"/>
                </a:solidFill>
              </a:rPr>
              <a:t>Landscape and portrait</a:t>
            </a:r>
            <a:endParaRPr lang="en-US" dirty="0"/>
          </a:p>
        </p:txBody>
      </p:sp>
      <p:pic>
        <p:nvPicPr>
          <p:cNvPr id="463906" name="Picture 34" descr="GitHub - twbs/bootstrap: The most popular HTML, CSS, and JavaScript  framework for developing responsive, mobile first projects on the web.">
            <a:extLst>
              <a:ext uri="{FF2B5EF4-FFF2-40B4-BE49-F238E27FC236}">
                <a16:creationId xmlns:a16="http://schemas.microsoft.com/office/drawing/2014/main" id="{2C02DC83-520D-EE4A-93AC-DA7FF99EDBD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065386" y="4486874"/>
            <a:ext cx="1871133" cy="1543685"/>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8782483F-7E8A-8049-9420-53F5E9E0D810}"/>
              </a:ext>
            </a:extLst>
          </p:cNvPr>
          <p:cNvSpPr/>
          <p:nvPr/>
        </p:nvSpPr>
        <p:spPr>
          <a:xfrm>
            <a:off x="8574033" y="1999255"/>
            <a:ext cx="1520866" cy="369332"/>
          </a:xfrm>
          <a:prstGeom prst="rect">
            <a:avLst/>
          </a:prstGeom>
        </p:spPr>
        <p:txBody>
          <a:bodyPr wrap="none">
            <a:spAutoFit/>
          </a:bodyPr>
          <a:lstStyle/>
          <a:p>
            <a:r>
              <a:rPr lang="en-US" dirty="0">
                <a:solidFill>
                  <a:schemeClr val="bg1"/>
                </a:solidFill>
              </a:rPr>
              <a:t>Different Sizes</a:t>
            </a:r>
            <a:endParaRPr lang="en-US" dirty="0"/>
          </a:p>
        </p:txBody>
      </p:sp>
    </p:spTree>
    <p:extLst>
      <p:ext uri="{BB962C8B-B14F-4D97-AF65-F5344CB8AC3E}">
        <p14:creationId xmlns:p14="http://schemas.microsoft.com/office/powerpoint/2010/main" val="25514401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63906"/>
                                        </p:tgtEl>
                                        <p:attrNameLst>
                                          <p:attrName>style.visibility</p:attrName>
                                        </p:attrNameLst>
                                      </p:cBhvr>
                                      <p:to>
                                        <p:strVal val="visible"/>
                                      </p:to>
                                    </p:set>
                                    <p:animEffect transition="in" filter="fade">
                                      <p:cBhvr>
                                        <p:cTn id="20" dur="500"/>
                                        <p:tgtEl>
                                          <p:spTgt spid="46390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2" grpId="0"/>
      <p:bldP spid="10"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E3FA6F2-26D8-BB49-808C-506439EE9E3A}"/>
              </a:ext>
            </a:extLst>
          </p:cNvPr>
          <p:cNvSpPr txBox="1"/>
          <p:nvPr/>
        </p:nvSpPr>
        <p:spPr>
          <a:xfrm>
            <a:off x="4373711" y="4192833"/>
            <a:ext cx="1033459" cy="269176"/>
          </a:xfrm>
          <a:prstGeom prst="rect">
            <a:avLst/>
          </a:prstGeom>
          <a:noFill/>
        </p:spPr>
        <p:txBody>
          <a:bodyPr wrap="square" rtlCol="0">
            <a:spAutoFit/>
          </a:bodyPr>
          <a:lstStyle/>
          <a:p>
            <a:pPr>
              <a:lnSpc>
                <a:spcPct val="110000"/>
              </a:lnSpc>
            </a:pPr>
            <a:r>
              <a:rPr lang="en-US" altLang="ko-KR" sz="1100" dirty="0" err="1">
                <a:solidFill>
                  <a:schemeClr val="bg1"/>
                </a:solidFill>
                <a:ea typeface="맑은 고딕" panose="020B0503020000020004" pitchFamily="50" charset="-127"/>
                <a:cs typeface="Calibri" panose="020F0502020204030204" pitchFamily="34" charset="0"/>
              </a:rPr>
              <a:t>Material.io</a:t>
            </a:r>
            <a:endParaRPr lang="en-US" altLang="ko-KR" sz="1100" dirty="0">
              <a:solidFill>
                <a:schemeClr val="bg1"/>
              </a:solidFill>
              <a:ea typeface="맑은 고딕" panose="020B0503020000020004" pitchFamily="50" charset="-127"/>
              <a:cs typeface="Calibri" panose="020F0502020204030204" pitchFamily="34" charset="0"/>
            </a:endParaRPr>
          </a:p>
        </p:txBody>
      </p:sp>
      <p:pic>
        <p:nvPicPr>
          <p:cNvPr id="5" name="Picture 4">
            <a:extLst>
              <a:ext uri="{FF2B5EF4-FFF2-40B4-BE49-F238E27FC236}">
                <a16:creationId xmlns:a16="http://schemas.microsoft.com/office/drawing/2014/main" id="{679669D3-116F-BE4A-BF91-ED8E53C2920A}"/>
              </a:ext>
            </a:extLst>
          </p:cNvPr>
          <p:cNvPicPr>
            <a:picLocks noChangeAspect="1"/>
          </p:cNvPicPr>
          <p:nvPr/>
        </p:nvPicPr>
        <p:blipFill rotWithShape="1">
          <a:blip r:embed="rId2"/>
          <a:srcRect r="71250"/>
          <a:stretch/>
        </p:blipFill>
        <p:spPr>
          <a:xfrm>
            <a:off x="7305718" y="1809727"/>
            <a:ext cx="734102" cy="586265"/>
          </a:xfrm>
          <a:prstGeom prst="rect">
            <a:avLst/>
          </a:prstGeom>
        </p:spPr>
      </p:pic>
      <p:pic>
        <p:nvPicPr>
          <p:cNvPr id="663556" name="Picture 4" descr="Figma Integration with Translation Management | Smartling">
            <a:extLst>
              <a:ext uri="{FF2B5EF4-FFF2-40B4-BE49-F238E27FC236}">
                <a16:creationId xmlns:a16="http://schemas.microsoft.com/office/drawing/2014/main" id="{B71B2D98-89B6-7348-9A57-78C2B7C600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66072"/>
          <a:stretch/>
        </p:blipFill>
        <p:spPr bwMode="auto">
          <a:xfrm>
            <a:off x="7454413" y="3071337"/>
            <a:ext cx="734102" cy="869174"/>
          </a:xfrm>
          <a:prstGeom prst="rect">
            <a:avLst/>
          </a:prstGeom>
          <a:noFill/>
          <a:extLst>
            <a:ext uri="{909E8E84-426E-40DD-AFC4-6F175D3DCCD1}">
              <a14:hiddenFill xmlns:a14="http://schemas.microsoft.com/office/drawing/2010/main">
                <a:solidFill>
                  <a:srgbClr val="FFFFFF"/>
                </a:solidFill>
              </a14:hiddenFill>
            </a:ext>
          </a:extLst>
        </p:spPr>
      </p:pic>
      <p:pic>
        <p:nvPicPr>
          <p:cNvPr id="663558" name="Picture 6" descr="invision-logo-pink2 - Column Five">
            <a:extLst>
              <a:ext uri="{FF2B5EF4-FFF2-40B4-BE49-F238E27FC236}">
                <a16:creationId xmlns:a16="http://schemas.microsoft.com/office/drawing/2014/main" id="{5845025A-2D69-1642-8C23-FBB1DEFD96B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13721" y="4462009"/>
            <a:ext cx="2794110" cy="937287"/>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a:extLst>
              <a:ext uri="{FF2B5EF4-FFF2-40B4-BE49-F238E27FC236}">
                <a16:creationId xmlns:a16="http://schemas.microsoft.com/office/drawing/2014/main" id="{0241E150-EB7F-9A4F-B5C5-E472C1A9C0F8}"/>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r="79790"/>
          <a:stretch/>
        </p:blipFill>
        <p:spPr>
          <a:xfrm>
            <a:off x="1980994" y="2281969"/>
            <a:ext cx="845938" cy="766395"/>
          </a:xfrm>
          <a:prstGeom prst="rect">
            <a:avLst/>
          </a:prstGeom>
        </p:spPr>
      </p:pic>
      <p:pic>
        <p:nvPicPr>
          <p:cNvPr id="9" name="Graphic 8">
            <a:extLst>
              <a:ext uri="{FF2B5EF4-FFF2-40B4-BE49-F238E27FC236}">
                <a16:creationId xmlns:a16="http://schemas.microsoft.com/office/drawing/2014/main" id="{9E84DA4F-915B-024B-9478-6E80668CA76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082507" y="3870221"/>
            <a:ext cx="914400" cy="914400"/>
          </a:xfrm>
          <a:prstGeom prst="rect">
            <a:avLst/>
          </a:prstGeom>
        </p:spPr>
      </p:pic>
      <p:pic>
        <p:nvPicPr>
          <p:cNvPr id="14" name="Picture 4" descr="Figma Integration with Translation Management | Smartling">
            <a:extLst>
              <a:ext uri="{FF2B5EF4-FFF2-40B4-BE49-F238E27FC236}">
                <a16:creationId xmlns:a16="http://schemas.microsoft.com/office/drawing/2014/main" id="{0F558F49-D9A0-714A-885A-CEDF119DC63A}"/>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l="34232"/>
          <a:stretch/>
        </p:blipFill>
        <p:spPr bwMode="auto">
          <a:xfrm>
            <a:off x="8195094" y="3071337"/>
            <a:ext cx="1423006" cy="86917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9864F02A-D057-1944-BFC5-462E6CD974B7}"/>
              </a:ext>
            </a:extLst>
          </p:cNvPr>
          <p:cNvPicPr>
            <a:picLocks noChangeAspect="1"/>
          </p:cNvPicPr>
          <p:nvPr/>
        </p:nvPicPr>
        <p:blipFill rotWithShape="1">
          <a:blip r:embed="rId11">
            <a:extLst>
              <a:ext uri="{BEBA8EAE-BF5A-486C-A8C5-ECC9F3942E4B}">
                <a14:imgProps xmlns:a14="http://schemas.microsoft.com/office/drawing/2010/main">
                  <a14:imgLayer r:embed="rId12">
                    <a14:imgEffect>
                      <a14:brightnessContrast bright="100000"/>
                    </a14:imgEffect>
                  </a14:imgLayer>
                </a14:imgProps>
              </a:ext>
            </a:extLst>
          </a:blip>
          <a:srcRect l="28750"/>
          <a:stretch/>
        </p:blipFill>
        <p:spPr>
          <a:xfrm>
            <a:off x="8039819" y="1809727"/>
            <a:ext cx="1819316" cy="586265"/>
          </a:xfrm>
          <a:prstGeom prst="rect">
            <a:avLst/>
          </a:prstGeom>
        </p:spPr>
      </p:pic>
      <p:pic>
        <p:nvPicPr>
          <p:cNvPr id="16" name="Graphic 15">
            <a:extLst>
              <a:ext uri="{FF2B5EF4-FFF2-40B4-BE49-F238E27FC236}">
                <a16:creationId xmlns:a16="http://schemas.microsoft.com/office/drawing/2014/main" id="{20735C4D-3062-A847-B977-1201C56F9286}"/>
              </a:ext>
            </a:extLst>
          </p:cNvPr>
          <p:cNvPicPr>
            <a:picLocks noChangeAspect="1"/>
          </p:cNvPicPr>
          <p:nvPr/>
        </p:nvPicPr>
        <p:blipFill rotWithShape="1">
          <a:blip r:embed="rId5">
            <a:lum bright="100000"/>
            <a:extLst>
              <a:ext uri="{28A0092B-C50C-407E-A947-70E740481C1C}">
                <a14:useLocalDpi xmlns:a14="http://schemas.microsoft.com/office/drawing/2010/main" val="0"/>
              </a:ext>
              <a:ext uri="{96DAC541-7B7A-43D3-8B79-37D633B846F1}">
                <asvg:svgBlip xmlns:asvg="http://schemas.microsoft.com/office/drawing/2016/SVG/main" r:embed="rId6"/>
              </a:ext>
            </a:extLst>
          </a:blip>
          <a:srcRect l="22373"/>
          <a:stretch/>
        </p:blipFill>
        <p:spPr>
          <a:xfrm>
            <a:off x="2917466" y="2281968"/>
            <a:ext cx="3249224" cy="766395"/>
          </a:xfrm>
          <a:prstGeom prst="rect">
            <a:avLst/>
          </a:prstGeom>
        </p:spPr>
      </p:pic>
    </p:spTree>
    <p:extLst>
      <p:ext uri="{BB962C8B-B14F-4D97-AF65-F5344CB8AC3E}">
        <p14:creationId xmlns:p14="http://schemas.microsoft.com/office/powerpoint/2010/main" val="35517541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670C108-18F2-CE40-8560-8ADF6AAD2752}"/>
              </a:ext>
            </a:extLst>
          </p:cNvPr>
          <p:cNvGraphicFramePr>
            <a:graphicFrameLocks noChangeAspect="1"/>
          </p:cNvGraphicFramePr>
          <p:nvPr>
            <p:custDataLst>
              <p:tags r:id="rId2"/>
            </p:custDataLst>
            <p:extLst>
              <p:ext uri="{D42A27DB-BD31-4B8C-83A1-F6EECF244321}">
                <p14:modId xmlns:p14="http://schemas.microsoft.com/office/powerpoint/2010/main" val="250429320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21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그림 개체 틀 6"/>
          <p:cNvPicPr>
            <a:picLocks noGrp="1" noChangeAspect="1"/>
          </p:cNvPicPr>
          <p:nvPr>
            <p:ph type="pic" sz="quarter" idx="14"/>
          </p:nvPr>
        </p:nvPicPr>
        <p:blipFill>
          <a:blip r:embed="rId7" cstate="print">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6369" r="6369"/>
          <a:stretch>
            <a:fillRect/>
          </a:stretch>
        </p:blipFill>
        <p:spPr/>
      </p:pic>
      <p:pic>
        <p:nvPicPr>
          <p:cNvPr id="9" name="그림 개체 틀 8"/>
          <p:cNvPicPr>
            <a:picLocks noGrp="1" noChangeAspect="1"/>
          </p:cNvPicPr>
          <p:nvPr>
            <p:ph type="pic" sz="quarter" idx="13"/>
          </p:nvPr>
        </p:nvPicPr>
        <p:blipFill>
          <a:blip r:embed="rId9" cstate="print">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val="0"/>
              </a:ext>
            </a:extLst>
          </a:blip>
          <a:srcRect t="7026" b="7026"/>
          <a:stretch>
            <a:fillRect/>
          </a:stretch>
        </p:blipFill>
        <p:spPr/>
      </p:pic>
      <p:sp>
        <p:nvSpPr>
          <p:cNvPr id="10" name="직사각형 9"/>
          <p:cNvSpPr/>
          <p:nvPr/>
        </p:nvSpPr>
        <p:spPr>
          <a:xfrm>
            <a:off x="1415847" y="1187245"/>
            <a:ext cx="3480619" cy="1993490"/>
          </a:xfrm>
          <a:prstGeom prst="rect">
            <a:avLst/>
          </a:prstGeom>
          <a:gradFill>
            <a:gsLst>
              <a:gs pos="0">
                <a:srgbClr val="B34768">
                  <a:alpha val="30000"/>
                </a:srgbClr>
              </a:gs>
              <a:gs pos="100000">
                <a:srgbClr val="3E8E86">
                  <a:alpha val="40000"/>
                </a:srgbClr>
              </a:gs>
              <a:gs pos="50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직사각형 14"/>
          <p:cNvSpPr/>
          <p:nvPr/>
        </p:nvSpPr>
        <p:spPr>
          <a:xfrm>
            <a:off x="7283247" y="3629503"/>
            <a:ext cx="3480619" cy="1993490"/>
          </a:xfrm>
          <a:prstGeom prst="rect">
            <a:avLst/>
          </a:prstGeom>
          <a:gradFill>
            <a:gsLst>
              <a:gs pos="0">
                <a:srgbClr val="B34768">
                  <a:alpha val="30000"/>
                </a:srgbClr>
              </a:gs>
              <a:gs pos="100000">
                <a:srgbClr val="3E8E86">
                  <a:alpha val="40000"/>
                </a:srgbClr>
              </a:gs>
              <a:gs pos="50000">
                <a:srgbClr val="2B2D78">
                  <a:alpha val="5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TextBox 12"/>
          <p:cNvSpPr txBox="1"/>
          <p:nvPr/>
        </p:nvSpPr>
        <p:spPr>
          <a:xfrm>
            <a:off x="2310713" y="2623767"/>
            <a:ext cx="8465439" cy="3046988"/>
          </a:xfrm>
          <a:prstGeom prst="rect">
            <a:avLst/>
          </a:prstGeom>
          <a:noFill/>
        </p:spPr>
        <p:txBody>
          <a:bodyPr wrap="square" rtlCol="0">
            <a:spAutoFit/>
          </a:bodyPr>
          <a:lstStyle/>
          <a:p>
            <a:r>
              <a:rPr lang="en-US" altLang="ko-KR" sz="96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ENGAMENT</a:t>
            </a:r>
            <a:endParaRPr lang="en-US" altLang="ko-KR" sz="40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24035717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a:extLst>
              <a:ext uri="{FF2B5EF4-FFF2-40B4-BE49-F238E27FC236}">
                <a16:creationId xmlns:a16="http://schemas.microsoft.com/office/drawing/2014/main" id="{6FC6B3EB-2752-B346-AAD2-982C230C98FA}"/>
              </a:ext>
            </a:extLst>
          </p:cNvPr>
          <p:cNvGraphicFramePr>
            <a:graphicFrameLocks noChangeAspect="1"/>
          </p:cNvGraphicFramePr>
          <p:nvPr>
            <p:custDataLst>
              <p:tags r:id="rId2"/>
            </p:custDataLst>
            <p:extLst>
              <p:ext uri="{D42A27DB-BD31-4B8C-83A1-F6EECF244321}">
                <p14:modId xmlns:p14="http://schemas.microsoft.com/office/powerpoint/2010/main" val="309628347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313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4B90D173-E363-4207-AEF4-77A0A1EB42B3}"/>
              </a:ext>
            </a:extLst>
          </p:cNvPr>
          <p:cNvSpPr>
            <a:spLocks noGrp="1"/>
          </p:cNvSpPr>
          <p:nvPr>
            <p:ph type="title"/>
          </p:nvPr>
        </p:nvSpPr>
        <p:spPr/>
        <p:txBody>
          <a:bodyPr vert="horz"/>
          <a:lstStyle/>
          <a:p>
            <a:r>
              <a:rPr lang="en-US" altLang="ko-KR" dirty="0"/>
              <a:t>ELEMENTS</a:t>
            </a:r>
            <a:br>
              <a:rPr lang="en-US" altLang="ko-KR" dirty="0"/>
            </a:br>
            <a:r>
              <a:rPr lang="en-US" altLang="ko-KR"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TO UX</a:t>
            </a:r>
            <a:endParaRPr lang="ko-KR" altLang="en-US" sz="2800"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5" name="직사각형 4">
            <a:extLst>
              <a:ext uri="{FF2B5EF4-FFF2-40B4-BE49-F238E27FC236}">
                <a16:creationId xmlns:a16="http://schemas.microsoft.com/office/drawing/2014/main" id="{AE138ECE-9F29-4D5C-A44C-4814F8A9C3FD}"/>
              </a:ext>
            </a:extLst>
          </p:cNvPr>
          <p:cNvSpPr/>
          <p:nvPr/>
        </p:nvSpPr>
        <p:spPr>
          <a:xfrm>
            <a:off x="5902280" y="298047"/>
            <a:ext cx="380232" cy="489365"/>
          </a:xfrm>
          <a:prstGeom prst="rect">
            <a:avLst/>
          </a:prstGeom>
        </p:spPr>
        <p:txBody>
          <a:bodyPr wrap="none">
            <a:spAutoFit/>
          </a:bodyPr>
          <a:lstStyle/>
          <a:p>
            <a:pPr algn="ctr">
              <a:lnSpc>
                <a:spcPct val="200000"/>
              </a:lnSpc>
            </a:pPr>
            <a:r>
              <a:rPr lang="en-US" altLang="ko-KR" sz="1500" b="1" dirty="0">
                <a:solidFill>
                  <a:schemeClr val="bg2"/>
                </a:solidFill>
              </a:rPr>
              <a:t>29</a:t>
            </a:r>
          </a:p>
        </p:txBody>
      </p:sp>
      <p:sp>
        <p:nvSpPr>
          <p:cNvPr id="4" name="Freeform 95">
            <a:extLst>
              <a:ext uri="{FF2B5EF4-FFF2-40B4-BE49-F238E27FC236}">
                <a16:creationId xmlns:a16="http://schemas.microsoft.com/office/drawing/2014/main" id="{A0811A8B-D50B-45F4-A634-0624EC9A66B8}"/>
              </a:ext>
            </a:extLst>
          </p:cNvPr>
          <p:cNvSpPr>
            <a:spLocks noEditPoints="1"/>
          </p:cNvSpPr>
          <p:nvPr/>
        </p:nvSpPr>
        <p:spPr bwMode="auto">
          <a:xfrm>
            <a:off x="6156060" y="1257300"/>
            <a:ext cx="4346456" cy="4343400"/>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endParaRPr>
          </a:p>
        </p:txBody>
      </p:sp>
      <p:sp>
        <p:nvSpPr>
          <p:cNvPr id="8" name="자유형: 도형 7">
            <a:extLst>
              <a:ext uri="{FF2B5EF4-FFF2-40B4-BE49-F238E27FC236}">
                <a16:creationId xmlns:a16="http://schemas.microsoft.com/office/drawing/2014/main" id="{3FB545E9-4FEF-4EB1-8546-70FEFF38807F}"/>
              </a:ext>
            </a:extLst>
          </p:cNvPr>
          <p:cNvSpPr/>
          <p:nvPr/>
        </p:nvSpPr>
        <p:spPr bwMode="auto">
          <a:xfrm>
            <a:off x="6648545" y="3306067"/>
            <a:ext cx="1658843" cy="1993872"/>
          </a:xfrm>
          <a:custGeom>
            <a:avLst/>
            <a:gdLst>
              <a:gd name="connsiteX0" fmla="*/ 1658843 w 1658843"/>
              <a:gd name="connsiteY0" fmla="*/ 0 h 1993872"/>
              <a:gd name="connsiteX1" fmla="*/ 1658843 w 1658843"/>
              <a:gd name="connsiteY1" fmla="*/ 1993767 h 1993872"/>
              <a:gd name="connsiteX2" fmla="*/ 1656759 w 1658843"/>
              <a:gd name="connsiteY2" fmla="*/ 1993872 h 1993872"/>
              <a:gd name="connsiteX3" fmla="*/ 33821 w 1658843"/>
              <a:gd name="connsiteY3" fmla="*/ 1027940 h 1993872"/>
              <a:gd name="connsiteX4" fmla="*/ 0 w 1658843"/>
              <a:gd name="connsiteY4" fmla="*/ 957733 h 199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843" h="1993872">
                <a:moveTo>
                  <a:pt x="1658843" y="0"/>
                </a:moveTo>
                <a:lnTo>
                  <a:pt x="1658843" y="1993767"/>
                </a:lnTo>
                <a:lnTo>
                  <a:pt x="1656759" y="1993872"/>
                </a:lnTo>
                <a:cubicBezTo>
                  <a:pt x="955952" y="1993872"/>
                  <a:pt x="346371" y="1603293"/>
                  <a:pt x="33821" y="1027940"/>
                </a:cubicBezTo>
                <a:lnTo>
                  <a:pt x="0" y="957733"/>
                </a:lnTo>
                <a:close/>
              </a:path>
            </a:pathLst>
          </a:cu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Vanilla</a:t>
            </a:r>
            <a:endParaRPr lang="ko-KR" altLang="en-US" dirty="0">
              <a:solidFill>
                <a:schemeClr val="lt1"/>
              </a:solidFill>
            </a:endParaRPr>
          </a:p>
        </p:txBody>
      </p:sp>
      <p:sp>
        <p:nvSpPr>
          <p:cNvPr id="10" name="자유형: 도형 9">
            <a:extLst>
              <a:ext uri="{FF2B5EF4-FFF2-40B4-BE49-F238E27FC236}">
                <a16:creationId xmlns:a16="http://schemas.microsoft.com/office/drawing/2014/main" id="{28742173-7CA0-4F24-9B05-1BDAE670F898}"/>
              </a:ext>
            </a:extLst>
          </p:cNvPr>
          <p:cNvSpPr/>
          <p:nvPr/>
        </p:nvSpPr>
        <p:spPr bwMode="auto">
          <a:xfrm flipH="1">
            <a:off x="8359253" y="1547619"/>
            <a:ext cx="1544854" cy="1725895"/>
          </a:xfrm>
          <a:custGeom>
            <a:avLst/>
            <a:gdLst>
              <a:gd name="connsiteX0" fmla="*/ 1542770 w 1544854"/>
              <a:gd name="connsiteY0" fmla="*/ 0 h 1725895"/>
              <a:gd name="connsiteX1" fmla="*/ 1544854 w 1544854"/>
              <a:gd name="connsiteY1" fmla="*/ 105 h 1725895"/>
              <a:gd name="connsiteX2" fmla="*/ 1544854 w 1544854"/>
              <a:gd name="connsiteY2" fmla="*/ 1725895 h 1725895"/>
              <a:gd name="connsiteX3" fmla="*/ 0 w 1544854"/>
              <a:gd name="connsiteY3" fmla="*/ 833973 h 1725895"/>
              <a:gd name="connsiteX4" fmla="*/ 12283 w 1544854"/>
              <a:gd name="connsiteY4" fmla="*/ 813754 h 1725895"/>
              <a:gd name="connsiteX5" fmla="*/ 1542770 w 1544854"/>
              <a:gd name="connsiteY5" fmla="*/ 0 h 17258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44854" h="1725895">
                <a:moveTo>
                  <a:pt x="1542770" y="0"/>
                </a:moveTo>
                <a:lnTo>
                  <a:pt x="1544854" y="105"/>
                </a:lnTo>
                <a:lnTo>
                  <a:pt x="1544854" y="1725895"/>
                </a:lnTo>
                <a:lnTo>
                  <a:pt x="0" y="833973"/>
                </a:lnTo>
                <a:lnTo>
                  <a:pt x="12283" y="813754"/>
                </a:lnTo>
                <a:cubicBezTo>
                  <a:pt x="343969" y="322793"/>
                  <a:pt x="905673" y="0"/>
                  <a:pt x="1542770" y="0"/>
                </a:cubicBezTo>
                <a:close/>
              </a:path>
            </a:pathLst>
          </a:custGeom>
          <a:gradFill flip="none" rotWithShape="1">
            <a:gsLst>
              <a:gs pos="0">
                <a:srgbClr val="B34768">
                  <a:alpha val="40000"/>
                </a:srgbClr>
              </a:gs>
              <a:gs pos="100000">
                <a:srgbClr val="3E8E86">
                  <a:alpha val="50000"/>
                </a:srgbClr>
              </a:gs>
              <a:gs pos="50000">
                <a:srgbClr val="2B2D78">
                  <a:alpha val="50000"/>
                </a:srgbClr>
              </a:gs>
            </a:gsLst>
            <a:lin ang="12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Pages</a:t>
            </a:r>
          </a:p>
        </p:txBody>
      </p:sp>
      <p:sp>
        <p:nvSpPr>
          <p:cNvPr id="11" name="자유형: 도형 10">
            <a:extLst>
              <a:ext uri="{FF2B5EF4-FFF2-40B4-BE49-F238E27FC236}">
                <a16:creationId xmlns:a16="http://schemas.microsoft.com/office/drawing/2014/main" id="{1C7EB83A-C957-483D-A729-31C4E2B85957}"/>
              </a:ext>
            </a:extLst>
          </p:cNvPr>
          <p:cNvSpPr/>
          <p:nvPr/>
        </p:nvSpPr>
        <p:spPr bwMode="auto">
          <a:xfrm flipH="1">
            <a:off x="8357606" y="3306067"/>
            <a:ext cx="1658843" cy="1993872"/>
          </a:xfrm>
          <a:custGeom>
            <a:avLst/>
            <a:gdLst>
              <a:gd name="connsiteX0" fmla="*/ 1658843 w 1658843"/>
              <a:gd name="connsiteY0" fmla="*/ 0 h 1993872"/>
              <a:gd name="connsiteX1" fmla="*/ 1658843 w 1658843"/>
              <a:gd name="connsiteY1" fmla="*/ 1993767 h 1993872"/>
              <a:gd name="connsiteX2" fmla="*/ 1656759 w 1658843"/>
              <a:gd name="connsiteY2" fmla="*/ 1993872 h 1993872"/>
              <a:gd name="connsiteX3" fmla="*/ 33821 w 1658843"/>
              <a:gd name="connsiteY3" fmla="*/ 1027940 h 1993872"/>
              <a:gd name="connsiteX4" fmla="*/ 0 w 1658843"/>
              <a:gd name="connsiteY4" fmla="*/ 957733 h 1993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58843" h="1993872">
                <a:moveTo>
                  <a:pt x="1658843" y="0"/>
                </a:moveTo>
                <a:lnTo>
                  <a:pt x="1658843" y="1993767"/>
                </a:lnTo>
                <a:lnTo>
                  <a:pt x="1656759" y="1993872"/>
                </a:lnTo>
                <a:cubicBezTo>
                  <a:pt x="955952" y="1993872"/>
                  <a:pt x="346371" y="1603293"/>
                  <a:pt x="33821" y="1027940"/>
                </a:cubicBezTo>
                <a:lnTo>
                  <a:pt x="0" y="957733"/>
                </a:lnTo>
                <a:close/>
              </a:path>
            </a:pathLst>
          </a:cu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t>Minify</a:t>
            </a:r>
            <a:endParaRPr lang="ko-KR" altLang="en-US" dirty="0">
              <a:solidFill>
                <a:schemeClr val="lt1"/>
              </a:solidFill>
            </a:endParaRPr>
          </a:p>
        </p:txBody>
      </p:sp>
      <p:sp>
        <p:nvSpPr>
          <p:cNvPr id="12" name="자유형: 도형 11">
            <a:extLst>
              <a:ext uri="{FF2B5EF4-FFF2-40B4-BE49-F238E27FC236}">
                <a16:creationId xmlns:a16="http://schemas.microsoft.com/office/drawing/2014/main" id="{9F0545A7-85B5-4C0B-ABF3-B714926C2594}"/>
              </a:ext>
            </a:extLst>
          </p:cNvPr>
          <p:cNvSpPr/>
          <p:nvPr/>
        </p:nvSpPr>
        <p:spPr bwMode="auto">
          <a:xfrm flipH="1">
            <a:off x="8413146" y="2410566"/>
            <a:ext cx="1823229" cy="1821297"/>
          </a:xfrm>
          <a:custGeom>
            <a:avLst/>
            <a:gdLst>
              <a:gd name="connsiteX0" fmla="*/ 303258 w 1823229"/>
              <a:gd name="connsiteY0" fmla="*/ 34408 h 1855518"/>
              <a:gd name="connsiteX1" fmla="*/ 1823229 w 1823229"/>
              <a:gd name="connsiteY1" fmla="*/ 911964 h 1855518"/>
              <a:gd name="connsiteX2" fmla="*/ 188946 w 1823229"/>
              <a:gd name="connsiteY2" fmla="*/ 1855518 h 1855518"/>
              <a:gd name="connsiteX3" fmla="*/ 145045 w 1823229"/>
              <a:gd name="connsiteY3" fmla="*/ 1764384 h 1855518"/>
              <a:gd name="connsiteX4" fmla="*/ 0 w 1823229"/>
              <a:gd name="connsiteY4" fmla="*/ 1045952 h 1855518"/>
              <a:gd name="connsiteX5" fmla="*/ 244535 w 1823229"/>
              <a:gd name="connsiteY5" fmla="*/ 127240 h 1855518"/>
              <a:gd name="connsiteX6" fmla="*/ 320641 w 1823229"/>
              <a:gd name="connsiteY6" fmla="*/ 6929 h 1855518"/>
              <a:gd name="connsiteX7" fmla="*/ 303258 w 1823229"/>
              <a:gd name="connsiteY7" fmla="*/ 34408 h 1855518"/>
              <a:gd name="connsiteX8" fmla="*/ 302935 w 1823229"/>
              <a:gd name="connsiteY8" fmla="*/ 34221 h 1855518"/>
              <a:gd name="connsiteX9" fmla="*/ 315218 w 1823229"/>
              <a:gd name="connsiteY9" fmla="*/ 14002 h 1855518"/>
              <a:gd name="connsiteX10" fmla="*/ 325024 w 1823229"/>
              <a:gd name="connsiteY10" fmla="*/ 0 h 1855518"/>
              <a:gd name="connsiteX11" fmla="*/ 325952 w 1823229"/>
              <a:gd name="connsiteY11" fmla="*/ 0 h 1855518"/>
              <a:gd name="connsiteX12" fmla="*/ 320641 w 1823229"/>
              <a:gd name="connsiteY12" fmla="*/ 6929 h 1855518"/>
              <a:gd name="connsiteX0" fmla="*/ 303258 w 1823229"/>
              <a:gd name="connsiteY0" fmla="*/ 34408 h 1855518"/>
              <a:gd name="connsiteX1" fmla="*/ 1823229 w 1823229"/>
              <a:gd name="connsiteY1" fmla="*/ 911964 h 1855518"/>
              <a:gd name="connsiteX2" fmla="*/ 188946 w 1823229"/>
              <a:gd name="connsiteY2" fmla="*/ 1855518 h 1855518"/>
              <a:gd name="connsiteX3" fmla="*/ 145045 w 1823229"/>
              <a:gd name="connsiteY3" fmla="*/ 1764384 h 1855518"/>
              <a:gd name="connsiteX4" fmla="*/ 0 w 1823229"/>
              <a:gd name="connsiteY4" fmla="*/ 1045952 h 1855518"/>
              <a:gd name="connsiteX5" fmla="*/ 244535 w 1823229"/>
              <a:gd name="connsiteY5" fmla="*/ 127240 h 1855518"/>
              <a:gd name="connsiteX6" fmla="*/ 303258 w 1823229"/>
              <a:gd name="connsiteY6" fmla="*/ 34408 h 1855518"/>
              <a:gd name="connsiteX7" fmla="*/ 320641 w 1823229"/>
              <a:gd name="connsiteY7" fmla="*/ 6929 h 1855518"/>
              <a:gd name="connsiteX8" fmla="*/ 303258 w 1823229"/>
              <a:gd name="connsiteY8" fmla="*/ 34408 h 1855518"/>
              <a:gd name="connsiteX9" fmla="*/ 302935 w 1823229"/>
              <a:gd name="connsiteY9" fmla="*/ 34221 h 1855518"/>
              <a:gd name="connsiteX10" fmla="*/ 315218 w 1823229"/>
              <a:gd name="connsiteY10" fmla="*/ 14002 h 1855518"/>
              <a:gd name="connsiteX11" fmla="*/ 320641 w 1823229"/>
              <a:gd name="connsiteY11" fmla="*/ 6929 h 1855518"/>
              <a:gd name="connsiteX12" fmla="*/ 320641 w 1823229"/>
              <a:gd name="connsiteY12" fmla="*/ 6929 h 1855518"/>
              <a:gd name="connsiteX13" fmla="*/ 325952 w 1823229"/>
              <a:gd name="connsiteY13" fmla="*/ 0 h 1855518"/>
              <a:gd name="connsiteX14" fmla="*/ 320641 w 1823229"/>
              <a:gd name="connsiteY14" fmla="*/ 6929 h 1855518"/>
              <a:gd name="connsiteX0" fmla="*/ 303258 w 1823229"/>
              <a:gd name="connsiteY0" fmla="*/ 27479 h 1848589"/>
              <a:gd name="connsiteX1" fmla="*/ 1823229 w 1823229"/>
              <a:gd name="connsiteY1" fmla="*/ 905035 h 1848589"/>
              <a:gd name="connsiteX2" fmla="*/ 188946 w 1823229"/>
              <a:gd name="connsiteY2" fmla="*/ 1848589 h 1848589"/>
              <a:gd name="connsiteX3" fmla="*/ 145045 w 1823229"/>
              <a:gd name="connsiteY3" fmla="*/ 1757455 h 1848589"/>
              <a:gd name="connsiteX4" fmla="*/ 0 w 1823229"/>
              <a:gd name="connsiteY4" fmla="*/ 1039023 h 1848589"/>
              <a:gd name="connsiteX5" fmla="*/ 244535 w 1823229"/>
              <a:gd name="connsiteY5" fmla="*/ 120311 h 1848589"/>
              <a:gd name="connsiteX6" fmla="*/ 303258 w 1823229"/>
              <a:gd name="connsiteY6" fmla="*/ 27479 h 1848589"/>
              <a:gd name="connsiteX7" fmla="*/ 320641 w 1823229"/>
              <a:gd name="connsiteY7" fmla="*/ 0 h 1848589"/>
              <a:gd name="connsiteX8" fmla="*/ 303258 w 1823229"/>
              <a:gd name="connsiteY8" fmla="*/ 27479 h 1848589"/>
              <a:gd name="connsiteX9" fmla="*/ 302935 w 1823229"/>
              <a:gd name="connsiteY9" fmla="*/ 27292 h 1848589"/>
              <a:gd name="connsiteX10" fmla="*/ 315218 w 1823229"/>
              <a:gd name="connsiteY10" fmla="*/ 7073 h 1848589"/>
              <a:gd name="connsiteX11" fmla="*/ 320641 w 1823229"/>
              <a:gd name="connsiteY11" fmla="*/ 0 h 1848589"/>
              <a:gd name="connsiteX0" fmla="*/ 303258 w 1823229"/>
              <a:gd name="connsiteY0" fmla="*/ 20406 h 1841516"/>
              <a:gd name="connsiteX1" fmla="*/ 1823229 w 1823229"/>
              <a:gd name="connsiteY1" fmla="*/ 897962 h 1841516"/>
              <a:gd name="connsiteX2" fmla="*/ 188946 w 1823229"/>
              <a:gd name="connsiteY2" fmla="*/ 1841516 h 1841516"/>
              <a:gd name="connsiteX3" fmla="*/ 145045 w 1823229"/>
              <a:gd name="connsiteY3" fmla="*/ 1750382 h 1841516"/>
              <a:gd name="connsiteX4" fmla="*/ 0 w 1823229"/>
              <a:gd name="connsiteY4" fmla="*/ 1031950 h 1841516"/>
              <a:gd name="connsiteX5" fmla="*/ 244535 w 1823229"/>
              <a:gd name="connsiteY5" fmla="*/ 113238 h 1841516"/>
              <a:gd name="connsiteX6" fmla="*/ 303258 w 1823229"/>
              <a:gd name="connsiteY6" fmla="*/ 20406 h 1841516"/>
              <a:gd name="connsiteX7" fmla="*/ 315218 w 1823229"/>
              <a:gd name="connsiteY7" fmla="*/ 0 h 1841516"/>
              <a:gd name="connsiteX8" fmla="*/ 303258 w 1823229"/>
              <a:gd name="connsiteY8" fmla="*/ 20406 h 1841516"/>
              <a:gd name="connsiteX9" fmla="*/ 302935 w 1823229"/>
              <a:gd name="connsiteY9" fmla="*/ 20219 h 1841516"/>
              <a:gd name="connsiteX10" fmla="*/ 315218 w 1823229"/>
              <a:gd name="connsiteY10" fmla="*/ 0 h 1841516"/>
              <a:gd name="connsiteX0" fmla="*/ 303258 w 1823229"/>
              <a:gd name="connsiteY0" fmla="*/ 187 h 1821297"/>
              <a:gd name="connsiteX1" fmla="*/ 1823229 w 1823229"/>
              <a:gd name="connsiteY1" fmla="*/ 877743 h 1821297"/>
              <a:gd name="connsiteX2" fmla="*/ 188946 w 1823229"/>
              <a:gd name="connsiteY2" fmla="*/ 1821297 h 1821297"/>
              <a:gd name="connsiteX3" fmla="*/ 145045 w 1823229"/>
              <a:gd name="connsiteY3" fmla="*/ 1730163 h 1821297"/>
              <a:gd name="connsiteX4" fmla="*/ 0 w 1823229"/>
              <a:gd name="connsiteY4" fmla="*/ 1011731 h 1821297"/>
              <a:gd name="connsiteX5" fmla="*/ 244535 w 1823229"/>
              <a:gd name="connsiteY5" fmla="*/ 93019 h 1821297"/>
              <a:gd name="connsiteX6" fmla="*/ 303258 w 1823229"/>
              <a:gd name="connsiteY6" fmla="*/ 187 h 1821297"/>
              <a:gd name="connsiteX7" fmla="*/ 302935 w 1823229"/>
              <a:gd name="connsiteY7" fmla="*/ 0 h 1821297"/>
              <a:gd name="connsiteX8" fmla="*/ 303258 w 1823229"/>
              <a:gd name="connsiteY8" fmla="*/ 187 h 1821297"/>
              <a:gd name="connsiteX9" fmla="*/ 302935 w 1823229"/>
              <a:gd name="connsiteY9" fmla="*/ 0 h 1821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3229" h="1821297">
                <a:moveTo>
                  <a:pt x="303258" y="187"/>
                </a:moveTo>
                <a:lnTo>
                  <a:pt x="1823229" y="877743"/>
                </a:lnTo>
                <a:lnTo>
                  <a:pt x="188946" y="1821297"/>
                </a:lnTo>
                <a:lnTo>
                  <a:pt x="145045" y="1730163"/>
                </a:lnTo>
                <a:cubicBezTo>
                  <a:pt x="51647" y="1509346"/>
                  <a:pt x="0" y="1266570"/>
                  <a:pt x="0" y="1011731"/>
                </a:cubicBezTo>
                <a:cubicBezTo>
                  <a:pt x="0" y="677255"/>
                  <a:pt x="88970" y="363560"/>
                  <a:pt x="244535" y="93019"/>
                </a:cubicBezTo>
                <a:lnTo>
                  <a:pt x="303258" y="187"/>
                </a:lnTo>
                <a:close/>
                <a:moveTo>
                  <a:pt x="302935" y="0"/>
                </a:moveTo>
                <a:lnTo>
                  <a:pt x="303258" y="187"/>
                </a:lnTo>
                <a:lnTo>
                  <a:pt x="302935" y="0"/>
                </a:lnTo>
                <a:close/>
              </a:path>
            </a:pathLst>
          </a:custGeom>
          <a:gradFill flip="none" rotWithShape="1">
            <a:gsLst>
              <a:gs pos="0">
                <a:srgbClr val="B34768">
                  <a:alpha val="40000"/>
                </a:srgbClr>
              </a:gs>
              <a:gs pos="100000">
                <a:srgbClr val="3E8E86">
                  <a:alpha val="50000"/>
                </a:srgbClr>
              </a:gs>
              <a:gs pos="50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dirty="0">
                <a:solidFill>
                  <a:schemeClr val="lt1"/>
                </a:solidFill>
              </a:rPr>
              <a:t>Action</a:t>
            </a:r>
            <a:br>
              <a:rPr lang="en-US" altLang="ko-KR" dirty="0">
                <a:solidFill>
                  <a:schemeClr val="lt1"/>
                </a:solidFill>
              </a:rPr>
            </a:br>
            <a:r>
              <a:rPr lang="en-US" altLang="ko-KR" dirty="0">
                <a:solidFill>
                  <a:schemeClr val="lt1"/>
                </a:solidFill>
              </a:rPr>
              <a:t>&amp; Sizing</a:t>
            </a:r>
            <a:endParaRPr lang="ko-KR" altLang="en-US" dirty="0">
              <a:solidFill>
                <a:schemeClr val="lt1"/>
              </a:solidFill>
            </a:endParaRPr>
          </a:p>
        </p:txBody>
      </p:sp>
      <p:sp>
        <p:nvSpPr>
          <p:cNvPr id="14" name="자유형: 도형 13">
            <a:extLst>
              <a:ext uri="{FF2B5EF4-FFF2-40B4-BE49-F238E27FC236}">
                <a16:creationId xmlns:a16="http://schemas.microsoft.com/office/drawing/2014/main" id="{936B4A41-E4FF-4A2D-AE01-026E46F6C041}"/>
              </a:ext>
            </a:extLst>
          </p:cNvPr>
          <p:cNvSpPr/>
          <p:nvPr/>
        </p:nvSpPr>
        <p:spPr bwMode="auto">
          <a:xfrm>
            <a:off x="6897828" y="2988420"/>
            <a:ext cx="1968003" cy="1180595"/>
          </a:xfrm>
          <a:custGeom>
            <a:avLst/>
            <a:gdLst>
              <a:gd name="connsiteX0" fmla="*/ 980738 w 1968003"/>
              <a:gd name="connsiteY0" fmla="*/ 0 h 1180595"/>
              <a:gd name="connsiteX1" fmla="*/ 1968003 w 1968003"/>
              <a:gd name="connsiteY1" fmla="*/ 531846 h 1180595"/>
              <a:gd name="connsiteX2" fmla="*/ 1925434 w 1968003"/>
              <a:gd name="connsiteY2" fmla="*/ 620214 h 1180595"/>
              <a:gd name="connsiteX3" fmla="*/ 983894 w 1968003"/>
              <a:gd name="connsiteY3" fmla="*/ 1180595 h 1180595"/>
              <a:gd name="connsiteX4" fmla="*/ 42354 w 1968003"/>
              <a:gd name="connsiteY4" fmla="*/ 620214 h 1180595"/>
              <a:gd name="connsiteX5" fmla="*/ 0 w 1968003"/>
              <a:gd name="connsiteY5" fmla="*/ 532292 h 1180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68003" h="1180595">
                <a:moveTo>
                  <a:pt x="980738" y="0"/>
                </a:moveTo>
                <a:lnTo>
                  <a:pt x="1968003" y="531846"/>
                </a:lnTo>
                <a:lnTo>
                  <a:pt x="1925434" y="620214"/>
                </a:lnTo>
                <a:cubicBezTo>
                  <a:pt x="1744110" y="954002"/>
                  <a:pt x="1390464" y="1180595"/>
                  <a:pt x="983894" y="1180595"/>
                </a:cubicBezTo>
                <a:cubicBezTo>
                  <a:pt x="577324" y="1180595"/>
                  <a:pt x="223679" y="954002"/>
                  <a:pt x="42354" y="620214"/>
                </a:cubicBezTo>
                <a:lnTo>
                  <a:pt x="0" y="532292"/>
                </a:lnTo>
                <a:close/>
              </a:path>
            </a:pathLst>
          </a:cu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endParaRPr>
          </a:p>
        </p:txBody>
      </p:sp>
      <p:sp>
        <p:nvSpPr>
          <p:cNvPr id="15" name="자유형: 도형 14">
            <a:extLst>
              <a:ext uri="{FF2B5EF4-FFF2-40B4-BE49-F238E27FC236}">
                <a16:creationId xmlns:a16="http://schemas.microsoft.com/office/drawing/2014/main" id="{C41802F2-FC75-4D71-BC16-64181E085077}"/>
              </a:ext>
            </a:extLst>
          </p:cNvPr>
          <p:cNvSpPr/>
          <p:nvPr/>
        </p:nvSpPr>
        <p:spPr bwMode="auto">
          <a:xfrm>
            <a:off x="6818338" y="2037777"/>
            <a:ext cx="1064907" cy="1510342"/>
          </a:xfrm>
          <a:custGeom>
            <a:avLst/>
            <a:gdLst>
              <a:gd name="connsiteX0" fmla="*/ 1064907 w 1064907"/>
              <a:gd name="connsiteY0" fmla="*/ 0 h 1510342"/>
              <a:gd name="connsiteX1" fmla="*/ 1064907 w 1064907"/>
              <a:gd name="connsiteY1" fmla="*/ 967012 h 1510342"/>
              <a:gd name="connsiteX2" fmla="*/ 95259 w 1064907"/>
              <a:gd name="connsiteY2" fmla="*/ 1510342 h 1510342"/>
              <a:gd name="connsiteX3" fmla="*/ 84147 w 1064907"/>
              <a:gd name="connsiteY3" fmla="*/ 1487275 h 1510342"/>
              <a:gd name="connsiteX4" fmla="*/ 0 w 1064907"/>
              <a:gd name="connsiteY4" fmla="*/ 1070480 h 1510342"/>
              <a:gd name="connsiteX5" fmla="*/ 961296 w 1064907"/>
              <a:gd name="connsiteY5" fmla="*/ 5231 h 151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4907" h="1510342">
                <a:moveTo>
                  <a:pt x="1064907" y="0"/>
                </a:moveTo>
                <a:lnTo>
                  <a:pt x="1064907" y="967012"/>
                </a:lnTo>
                <a:lnTo>
                  <a:pt x="95259" y="1510342"/>
                </a:lnTo>
                <a:lnTo>
                  <a:pt x="84147" y="1487275"/>
                </a:lnTo>
                <a:cubicBezTo>
                  <a:pt x="29963" y="1359169"/>
                  <a:pt x="0" y="1218324"/>
                  <a:pt x="0" y="1070480"/>
                </a:cubicBezTo>
                <a:cubicBezTo>
                  <a:pt x="0" y="516067"/>
                  <a:pt x="421350" y="60066"/>
                  <a:pt x="961296" y="5231"/>
                </a:cubicBezTo>
                <a:close/>
              </a:path>
            </a:pathLst>
          </a:custGeom>
          <a:solidFill>
            <a:schemeClr val="accent1"/>
          </a:solidFill>
          <a:ln>
            <a:noFill/>
          </a:ln>
        </p:spPr>
        <p:txBody>
          <a:bodyPr vert="horz" wrap="square" lIns="91440" tIns="45720" rIns="91440" bIns="45720" numCol="1" rtlCol="0" anchor="t" anchorCtr="0" compatLnSpc="1">
            <a:prstTxWarp prst="textNoShape">
              <a:avLst/>
            </a:prstTxWarp>
          </a:bodyPr>
          <a:lstStyle/>
          <a:p>
            <a:pPr algn="ctr"/>
            <a:endParaRPr lang="ko-KR" altLang="en-US"/>
          </a:p>
        </p:txBody>
      </p:sp>
      <p:sp>
        <p:nvSpPr>
          <p:cNvPr id="16" name="자유형: 도형 15">
            <a:extLst>
              <a:ext uri="{FF2B5EF4-FFF2-40B4-BE49-F238E27FC236}">
                <a16:creationId xmlns:a16="http://schemas.microsoft.com/office/drawing/2014/main" id="{25C7F782-C66F-401D-B4CD-9EBE81553AF9}"/>
              </a:ext>
            </a:extLst>
          </p:cNvPr>
          <p:cNvSpPr/>
          <p:nvPr/>
        </p:nvSpPr>
        <p:spPr bwMode="auto">
          <a:xfrm flipH="1">
            <a:off x="7881829" y="2037777"/>
            <a:ext cx="1064907" cy="1510342"/>
          </a:xfrm>
          <a:custGeom>
            <a:avLst/>
            <a:gdLst>
              <a:gd name="connsiteX0" fmla="*/ 1064907 w 1064907"/>
              <a:gd name="connsiteY0" fmla="*/ 0 h 1510342"/>
              <a:gd name="connsiteX1" fmla="*/ 1064907 w 1064907"/>
              <a:gd name="connsiteY1" fmla="*/ 967012 h 1510342"/>
              <a:gd name="connsiteX2" fmla="*/ 95259 w 1064907"/>
              <a:gd name="connsiteY2" fmla="*/ 1510342 h 1510342"/>
              <a:gd name="connsiteX3" fmla="*/ 84147 w 1064907"/>
              <a:gd name="connsiteY3" fmla="*/ 1487275 h 1510342"/>
              <a:gd name="connsiteX4" fmla="*/ 0 w 1064907"/>
              <a:gd name="connsiteY4" fmla="*/ 1070480 h 1510342"/>
              <a:gd name="connsiteX5" fmla="*/ 961296 w 1064907"/>
              <a:gd name="connsiteY5" fmla="*/ 5231 h 15103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64907" h="1510342">
                <a:moveTo>
                  <a:pt x="1064907" y="0"/>
                </a:moveTo>
                <a:lnTo>
                  <a:pt x="1064907" y="967012"/>
                </a:lnTo>
                <a:lnTo>
                  <a:pt x="95259" y="1510342"/>
                </a:lnTo>
                <a:lnTo>
                  <a:pt x="84147" y="1487275"/>
                </a:lnTo>
                <a:cubicBezTo>
                  <a:pt x="29963" y="1359169"/>
                  <a:pt x="0" y="1218324"/>
                  <a:pt x="0" y="1070480"/>
                </a:cubicBezTo>
                <a:cubicBezTo>
                  <a:pt x="0" y="516067"/>
                  <a:pt x="421350" y="60066"/>
                  <a:pt x="961296" y="5231"/>
                </a:cubicBezTo>
                <a:close/>
              </a:path>
            </a:pathLst>
          </a:cu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lt1"/>
              </a:solidFill>
            </a:endParaRPr>
          </a:p>
        </p:txBody>
      </p:sp>
      <p:sp>
        <p:nvSpPr>
          <p:cNvPr id="17" name="직사각형 22">
            <a:extLst>
              <a:ext uri="{FF2B5EF4-FFF2-40B4-BE49-F238E27FC236}">
                <a16:creationId xmlns:a16="http://schemas.microsoft.com/office/drawing/2014/main" id="{0D0F572D-7E56-4A4D-88F8-5215A324766D}"/>
              </a:ext>
            </a:extLst>
          </p:cNvPr>
          <p:cNvSpPr>
            <a:spLocks noChangeArrowheads="1"/>
          </p:cNvSpPr>
          <p:nvPr/>
        </p:nvSpPr>
        <p:spPr bwMode="auto">
          <a:xfrm>
            <a:off x="6730342" y="2702291"/>
            <a:ext cx="1256770" cy="289310"/>
          </a:xfrm>
          <a:prstGeom prst="rect">
            <a:avLst/>
          </a:prstGeom>
          <a:noFill/>
        </p:spPr>
        <p:txBody>
          <a:bodyPr wrap="square" rtlCol="0" anchor="ctr">
            <a:spAutoFit/>
          </a:bodyPr>
          <a:lstStyle/>
          <a:p>
            <a:pPr algn="ctr" defTabSz="914400">
              <a:lnSpc>
                <a:spcPct val="80000"/>
              </a:lnSpc>
              <a:spcAft>
                <a:spcPts val="200"/>
              </a:spcAft>
            </a:pPr>
            <a:r>
              <a:rPr lang="en-US" altLang="ko" sz="1600" dirty="0">
                <a:solidFill>
                  <a:schemeClr val="bg1"/>
                </a:solidFill>
                <a:latin typeface="+mj-lt"/>
              </a:rPr>
              <a:t>SPA</a:t>
            </a:r>
            <a:endParaRPr lang="en-US" altLang="ko-KR" sz="1600" dirty="0">
              <a:solidFill>
                <a:schemeClr val="bg1"/>
              </a:solidFill>
              <a:latin typeface="+mj-lt"/>
            </a:endParaRPr>
          </a:p>
        </p:txBody>
      </p:sp>
      <p:sp>
        <p:nvSpPr>
          <p:cNvPr id="18" name="직사각형 22">
            <a:extLst>
              <a:ext uri="{FF2B5EF4-FFF2-40B4-BE49-F238E27FC236}">
                <a16:creationId xmlns:a16="http://schemas.microsoft.com/office/drawing/2014/main" id="{58FAE5C1-3B76-4AA8-9C58-A4BC691A3908}"/>
              </a:ext>
            </a:extLst>
          </p:cNvPr>
          <p:cNvSpPr>
            <a:spLocks noChangeArrowheads="1"/>
          </p:cNvSpPr>
          <p:nvPr/>
        </p:nvSpPr>
        <p:spPr bwMode="auto">
          <a:xfrm>
            <a:off x="7760844" y="2702291"/>
            <a:ext cx="1256770" cy="289310"/>
          </a:xfrm>
          <a:prstGeom prst="rect">
            <a:avLst/>
          </a:prstGeom>
          <a:noFill/>
        </p:spPr>
        <p:txBody>
          <a:bodyPr wrap="square" rtlCol="0" anchor="ctr">
            <a:spAutoFit/>
          </a:bodyPr>
          <a:lstStyle/>
          <a:p>
            <a:pPr algn="ctr" defTabSz="914400">
              <a:lnSpc>
                <a:spcPct val="80000"/>
              </a:lnSpc>
              <a:spcAft>
                <a:spcPts val="200"/>
              </a:spcAft>
            </a:pPr>
            <a:r>
              <a:rPr lang="en-US" altLang="ko" sz="1600" dirty="0">
                <a:solidFill>
                  <a:schemeClr val="bg1"/>
                </a:solidFill>
                <a:latin typeface="+mj-lt"/>
              </a:rPr>
              <a:t>Content</a:t>
            </a:r>
            <a:endParaRPr lang="en-US" altLang="ko-KR" sz="1600" dirty="0">
              <a:solidFill>
                <a:schemeClr val="bg1"/>
              </a:solidFill>
              <a:latin typeface="+mj-lt"/>
            </a:endParaRPr>
          </a:p>
        </p:txBody>
      </p:sp>
      <p:sp>
        <p:nvSpPr>
          <p:cNvPr id="19" name="직사각형 22">
            <a:extLst>
              <a:ext uri="{FF2B5EF4-FFF2-40B4-BE49-F238E27FC236}">
                <a16:creationId xmlns:a16="http://schemas.microsoft.com/office/drawing/2014/main" id="{0EB4B07A-0922-47DA-B41A-4A7BCCBA72EF}"/>
              </a:ext>
            </a:extLst>
          </p:cNvPr>
          <p:cNvSpPr>
            <a:spLocks noChangeArrowheads="1"/>
          </p:cNvSpPr>
          <p:nvPr/>
        </p:nvSpPr>
        <p:spPr bwMode="auto">
          <a:xfrm>
            <a:off x="7249567" y="3431734"/>
            <a:ext cx="1256770" cy="290721"/>
          </a:xfrm>
          <a:prstGeom prst="rect">
            <a:avLst/>
          </a:prstGeom>
          <a:noFill/>
        </p:spPr>
        <p:txBody>
          <a:bodyPr wrap="square" rtlCol="0" anchor="ctr">
            <a:spAutoFit/>
          </a:bodyPr>
          <a:lstStyle/>
          <a:p>
            <a:pPr algn="ctr" defTabSz="914400">
              <a:lnSpc>
                <a:spcPct val="80000"/>
              </a:lnSpc>
              <a:spcAft>
                <a:spcPts val="200"/>
              </a:spcAft>
            </a:pPr>
            <a:r>
              <a:rPr lang="en-US" altLang="ko" sz="1600" dirty="0">
                <a:solidFill>
                  <a:schemeClr val="bg1"/>
                </a:solidFill>
                <a:latin typeface="+mj-lt"/>
              </a:rPr>
              <a:t>Code</a:t>
            </a:r>
            <a:endParaRPr lang="en-US" altLang="ko-KR" sz="1600" dirty="0">
              <a:solidFill>
                <a:schemeClr val="bg1"/>
              </a:solidFill>
              <a:latin typeface="+mj-lt"/>
            </a:endParaRPr>
          </a:p>
        </p:txBody>
      </p:sp>
    </p:spTree>
    <p:extLst>
      <p:ext uri="{BB962C8B-B14F-4D97-AF65-F5344CB8AC3E}">
        <p14:creationId xmlns:p14="http://schemas.microsoft.com/office/powerpoint/2010/main" val="1849514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5"/>
                                        </p:tgtEl>
                                        <p:attrNameLst>
                                          <p:attrName>style.visibility</p:attrName>
                                        </p:attrNameLst>
                                      </p:cBhvr>
                                      <p:to>
                                        <p:strVal val="visible"/>
                                      </p:to>
                                    </p:set>
                                    <p:animEffect transition="in" filter="fade">
                                      <p:cBhvr>
                                        <p:cTn id="43" dur="500"/>
                                        <p:tgtEl>
                                          <p:spTgt spid="15"/>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7"/>
                                        </p:tgtEl>
                                        <p:attrNameLst>
                                          <p:attrName>style.visibility</p:attrName>
                                        </p:attrNameLst>
                                      </p:cBhvr>
                                      <p:to>
                                        <p:strVal val="visible"/>
                                      </p:to>
                                    </p:set>
                                    <p:animEffect transition="in" filter="fade">
                                      <p:cBhvr>
                                        <p:cTn id="4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4" grpId="0" animBg="1"/>
      <p:bldP spid="15" grpId="0" animBg="1"/>
      <p:bldP spid="16" grpId="0" animBg="1"/>
      <p:bldP spid="17" grpId="0"/>
      <p:bldP spid="18" grpId="0"/>
      <p:bldP spid="19"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EFDC92-50E4-B04E-92EE-676045F8B280}"/>
              </a:ext>
            </a:extLst>
          </p:cNvPr>
          <p:cNvGraphicFramePr>
            <a:graphicFrameLocks noChangeAspect="1"/>
          </p:cNvGraphicFramePr>
          <p:nvPr>
            <p:custDataLst>
              <p:tags r:id="rId2"/>
            </p:custDataLst>
            <p:extLst>
              <p:ext uri="{D42A27DB-BD31-4B8C-83A1-F6EECF244321}">
                <p14:modId xmlns:p14="http://schemas.microsoft.com/office/powerpoint/2010/main" val="4844733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415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 name="Freeform 15">
            <a:extLst>
              <a:ext uri="{FF2B5EF4-FFF2-40B4-BE49-F238E27FC236}">
                <a16:creationId xmlns:a16="http://schemas.microsoft.com/office/drawing/2014/main" id="{8250AD98-E03E-45F3-86D7-FCF0CF9605BE}"/>
              </a:ext>
            </a:extLst>
          </p:cNvPr>
          <p:cNvSpPr>
            <a:spLocks/>
          </p:cNvSpPr>
          <p:nvPr/>
        </p:nvSpPr>
        <p:spPr bwMode="auto">
          <a:xfrm>
            <a:off x="6501645" y="2987167"/>
            <a:ext cx="1197751" cy="1199346"/>
          </a:xfrm>
          <a:custGeom>
            <a:avLst/>
            <a:gdLst>
              <a:gd name="T0" fmla="*/ 1561 w 2378"/>
              <a:gd name="T1" fmla="*/ 206 h 2379"/>
              <a:gd name="T2" fmla="*/ 205 w 2378"/>
              <a:gd name="T3" fmla="*/ 818 h 2379"/>
              <a:gd name="T4" fmla="*/ 817 w 2378"/>
              <a:gd name="T5" fmla="*/ 2173 h 2379"/>
              <a:gd name="T6" fmla="*/ 2173 w 2378"/>
              <a:gd name="T7" fmla="*/ 1561 h 2379"/>
              <a:gd name="T8" fmla="*/ 1561 w 2378"/>
              <a:gd name="T9" fmla="*/ 206 h 2379"/>
            </a:gdLst>
            <a:ahLst/>
            <a:cxnLst>
              <a:cxn ang="0">
                <a:pos x="T0" y="T1"/>
              </a:cxn>
              <a:cxn ang="0">
                <a:pos x="T2" y="T3"/>
              </a:cxn>
              <a:cxn ang="0">
                <a:pos x="T4" y="T5"/>
              </a:cxn>
              <a:cxn ang="0">
                <a:pos x="T6" y="T7"/>
              </a:cxn>
              <a:cxn ang="0">
                <a:pos x="T8" y="T9"/>
              </a:cxn>
            </a:cxnLst>
            <a:rect l="0" t="0" r="r" b="b"/>
            <a:pathLst>
              <a:path w="2378" h="2379">
                <a:moveTo>
                  <a:pt x="1561" y="206"/>
                </a:moveTo>
                <a:cubicBezTo>
                  <a:pt x="1018" y="0"/>
                  <a:pt x="411" y="274"/>
                  <a:pt x="205" y="818"/>
                </a:cubicBezTo>
                <a:cubicBezTo>
                  <a:pt x="0" y="1361"/>
                  <a:pt x="274" y="1968"/>
                  <a:pt x="817" y="2173"/>
                </a:cubicBezTo>
                <a:cubicBezTo>
                  <a:pt x="1361" y="2379"/>
                  <a:pt x="1968" y="2105"/>
                  <a:pt x="2173" y="1561"/>
                </a:cubicBezTo>
                <a:cubicBezTo>
                  <a:pt x="2378" y="1018"/>
                  <a:pt x="2104" y="411"/>
                  <a:pt x="1561" y="20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tLang="ko-KR" dirty="0">
              <a:solidFill>
                <a:schemeClr val="lt1"/>
              </a:solidFill>
            </a:endParaRPr>
          </a:p>
        </p:txBody>
      </p:sp>
      <p:sp>
        <p:nvSpPr>
          <p:cNvPr id="22" name="제목 21">
            <a:extLst>
              <a:ext uri="{FF2B5EF4-FFF2-40B4-BE49-F238E27FC236}">
                <a16:creationId xmlns:a16="http://schemas.microsoft.com/office/drawing/2014/main" id="{EF80EA76-3431-4D9C-9F8D-FBB64DE8C88F}"/>
              </a:ext>
            </a:extLst>
          </p:cNvPr>
          <p:cNvSpPr>
            <a:spLocks noGrp="1"/>
          </p:cNvSpPr>
          <p:nvPr>
            <p:ph type="title"/>
          </p:nvPr>
        </p:nvSpPr>
        <p:spPr>
          <a:xfrm>
            <a:off x="1173346" y="1190716"/>
            <a:ext cx="4929441" cy="731676"/>
          </a:xfrm>
        </p:spPr>
        <p:txBody>
          <a:bodyPr vert="horz"/>
          <a:lstStyle/>
          <a:p>
            <a:r>
              <a:rPr lang="en-US" altLang="ko-KR" dirty="0"/>
              <a:t>5 STEPS </a:t>
            </a:r>
            <a:r>
              <a:rPr lang="en-US" altLang="ko-KR"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PROCESS</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4" name="Freeform 4">
            <a:extLst>
              <a:ext uri="{FF2B5EF4-FFF2-40B4-BE49-F238E27FC236}">
                <a16:creationId xmlns:a16="http://schemas.microsoft.com/office/drawing/2014/main" id="{5B8F1811-4F23-4154-B85A-67BCA89C6796}"/>
              </a:ext>
            </a:extLst>
          </p:cNvPr>
          <p:cNvSpPr>
            <a:spLocks/>
          </p:cNvSpPr>
          <p:nvPr/>
        </p:nvSpPr>
        <p:spPr bwMode="auto">
          <a:xfrm>
            <a:off x="5753841" y="2240990"/>
            <a:ext cx="1826295" cy="1009926"/>
          </a:xfrm>
          <a:custGeom>
            <a:avLst/>
            <a:gdLst>
              <a:gd name="T0" fmla="*/ 3639 w 3701"/>
              <a:gd name="T1" fmla="*/ 221 h 2045"/>
              <a:gd name="T2" fmla="*/ 2848 w 3701"/>
              <a:gd name="T3" fmla="*/ 58 h 2045"/>
              <a:gd name="T4" fmla="*/ 239 w 3701"/>
              <a:gd name="T5" fmla="*/ 1739 h 2045"/>
              <a:gd name="T6" fmla="*/ 162 w 3701"/>
              <a:gd name="T7" fmla="*/ 1580 h 2045"/>
              <a:gd name="T8" fmla="*/ 56 w 3701"/>
              <a:gd name="T9" fmla="*/ 1544 h 2045"/>
              <a:gd name="T10" fmla="*/ 19 w 3701"/>
              <a:gd name="T11" fmla="*/ 1650 h 2045"/>
              <a:gd name="T12" fmla="*/ 212 w 3701"/>
              <a:gd name="T13" fmla="*/ 2045 h 2045"/>
              <a:gd name="T14" fmla="*/ 642 w 3701"/>
              <a:gd name="T15" fmla="*/ 1875 h 2045"/>
              <a:gd name="T16" fmla="*/ 687 w 3701"/>
              <a:gd name="T17" fmla="*/ 1772 h 2045"/>
              <a:gd name="T18" fmla="*/ 583 w 3701"/>
              <a:gd name="T19" fmla="*/ 1727 h 2045"/>
              <a:gd name="T20" fmla="*/ 384 w 3701"/>
              <a:gd name="T21" fmla="*/ 1806 h 2045"/>
              <a:gd name="T22" fmla="*/ 2840 w 3701"/>
              <a:gd name="T23" fmla="*/ 217 h 2045"/>
              <a:gd name="T24" fmla="*/ 3584 w 3701"/>
              <a:gd name="T25" fmla="*/ 370 h 2045"/>
              <a:gd name="T26" fmla="*/ 3686 w 3701"/>
              <a:gd name="T27" fmla="*/ 323 h 2045"/>
              <a:gd name="T28" fmla="*/ 3639 w 3701"/>
              <a:gd name="T29" fmla="*/ 221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01" h="2045">
                <a:moveTo>
                  <a:pt x="3639" y="221"/>
                </a:moveTo>
                <a:cubicBezTo>
                  <a:pt x="3386" y="127"/>
                  <a:pt x="3120" y="72"/>
                  <a:pt x="2848" y="58"/>
                </a:cubicBezTo>
                <a:cubicBezTo>
                  <a:pt x="1700" y="0"/>
                  <a:pt x="654" y="684"/>
                  <a:pt x="239" y="1739"/>
                </a:cubicBezTo>
                <a:lnTo>
                  <a:pt x="162" y="1580"/>
                </a:lnTo>
                <a:cubicBezTo>
                  <a:pt x="143" y="1541"/>
                  <a:pt x="95" y="1524"/>
                  <a:pt x="56" y="1544"/>
                </a:cubicBezTo>
                <a:cubicBezTo>
                  <a:pt x="16" y="1563"/>
                  <a:pt x="0" y="1611"/>
                  <a:pt x="19" y="1650"/>
                </a:cubicBezTo>
                <a:lnTo>
                  <a:pt x="212" y="2045"/>
                </a:lnTo>
                <a:lnTo>
                  <a:pt x="642" y="1875"/>
                </a:lnTo>
                <a:cubicBezTo>
                  <a:pt x="683" y="1859"/>
                  <a:pt x="703" y="1813"/>
                  <a:pt x="687" y="1772"/>
                </a:cubicBezTo>
                <a:cubicBezTo>
                  <a:pt x="671" y="1731"/>
                  <a:pt x="624" y="1711"/>
                  <a:pt x="583" y="1727"/>
                </a:cubicBezTo>
                <a:lnTo>
                  <a:pt x="384" y="1806"/>
                </a:lnTo>
                <a:cubicBezTo>
                  <a:pt x="772" y="809"/>
                  <a:pt x="1758" y="163"/>
                  <a:pt x="2840" y="217"/>
                </a:cubicBezTo>
                <a:cubicBezTo>
                  <a:pt x="3095" y="230"/>
                  <a:pt x="3346" y="281"/>
                  <a:pt x="3584" y="370"/>
                </a:cubicBezTo>
                <a:cubicBezTo>
                  <a:pt x="3625" y="385"/>
                  <a:pt x="3671" y="364"/>
                  <a:pt x="3686" y="323"/>
                </a:cubicBezTo>
                <a:cubicBezTo>
                  <a:pt x="3701" y="282"/>
                  <a:pt x="3680" y="236"/>
                  <a:pt x="3639" y="221"/>
                </a:cubicBez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5" name="Freeform 5">
            <a:extLst>
              <a:ext uri="{FF2B5EF4-FFF2-40B4-BE49-F238E27FC236}">
                <a16:creationId xmlns:a16="http://schemas.microsoft.com/office/drawing/2014/main" id="{D5057787-361D-4E7D-91F9-40F21BFD8080}"/>
              </a:ext>
            </a:extLst>
          </p:cNvPr>
          <p:cNvSpPr>
            <a:spLocks/>
          </p:cNvSpPr>
          <p:nvPr/>
        </p:nvSpPr>
        <p:spPr bwMode="auto">
          <a:xfrm>
            <a:off x="5710134" y="3385155"/>
            <a:ext cx="1770100" cy="1642105"/>
          </a:xfrm>
          <a:custGeom>
            <a:avLst/>
            <a:gdLst>
              <a:gd name="T0" fmla="*/ 3225 w 3587"/>
              <a:gd name="T1" fmla="*/ 2641 h 3327"/>
              <a:gd name="T2" fmla="*/ 3114 w 3587"/>
              <a:gd name="T3" fmla="*/ 2662 h 3327"/>
              <a:gd name="T4" fmla="*/ 3134 w 3587"/>
              <a:gd name="T5" fmla="*/ 2772 h 3327"/>
              <a:gd name="T6" fmla="*/ 3277 w 3587"/>
              <a:gd name="T7" fmla="*/ 2871 h 3327"/>
              <a:gd name="T8" fmla="*/ 2507 w 3587"/>
              <a:gd name="T9" fmla="*/ 2892 h 3327"/>
              <a:gd name="T10" fmla="*/ 345 w 3587"/>
              <a:gd name="T11" fmla="*/ 94 h 3327"/>
              <a:gd name="T12" fmla="*/ 276 w 3587"/>
              <a:gd name="T13" fmla="*/ 5 h 3327"/>
              <a:gd name="T14" fmla="*/ 187 w 3587"/>
              <a:gd name="T15" fmla="*/ 74 h 3327"/>
              <a:gd name="T16" fmla="*/ 2487 w 3587"/>
              <a:gd name="T17" fmla="*/ 3050 h 3327"/>
              <a:gd name="T18" fmla="*/ 3316 w 3587"/>
              <a:gd name="T19" fmla="*/ 3026 h 3327"/>
              <a:gd name="T20" fmla="*/ 3206 w 3587"/>
              <a:gd name="T21" fmla="*/ 3203 h 3327"/>
              <a:gd name="T22" fmla="*/ 3232 w 3587"/>
              <a:gd name="T23" fmla="*/ 3312 h 3327"/>
              <a:gd name="T24" fmla="*/ 3264 w 3587"/>
              <a:gd name="T25" fmla="*/ 3324 h 3327"/>
              <a:gd name="T26" fmla="*/ 3341 w 3587"/>
              <a:gd name="T27" fmla="*/ 3286 h 3327"/>
              <a:gd name="T28" fmla="*/ 3587 w 3587"/>
              <a:gd name="T29" fmla="*/ 2891 h 3327"/>
              <a:gd name="T30" fmla="*/ 3225 w 3587"/>
              <a:gd name="T31" fmla="*/ 2641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87" h="3327">
                <a:moveTo>
                  <a:pt x="3225" y="2641"/>
                </a:moveTo>
                <a:cubicBezTo>
                  <a:pt x="3188" y="2616"/>
                  <a:pt x="3139" y="2625"/>
                  <a:pt x="3114" y="2662"/>
                </a:cubicBezTo>
                <a:cubicBezTo>
                  <a:pt x="3089" y="2698"/>
                  <a:pt x="3098" y="2747"/>
                  <a:pt x="3134" y="2772"/>
                </a:cubicBezTo>
                <a:lnTo>
                  <a:pt x="3277" y="2871"/>
                </a:lnTo>
                <a:cubicBezTo>
                  <a:pt x="3024" y="2918"/>
                  <a:pt x="2766" y="2925"/>
                  <a:pt x="2507" y="2892"/>
                </a:cubicBezTo>
                <a:cubicBezTo>
                  <a:pt x="1140" y="2717"/>
                  <a:pt x="170" y="1462"/>
                  <a:pt x="345" y="94"/>
                </a:cubicBezTo>
                <a:cubicBezTo>
                  <a:pt x="350" y="51"/>
                  <a:pt x="319" y="11"/>
                  <a:pt x="276" y="5"/>
                </a:cubicBezTo>
                <a:cubicBezTo>
                  <a:pt x="232" y="0"/>
                  <a:pt x="192" y="30"/>
                  <a:pt x="187" y="74"/>
                </a:cubicBezTo>
                <a:cubicBezTo>
                  <a:pt x="0" y="1529"/>
                  <a:pt x="1032" y="2864"/>
                  <a:pt x="2487" y="3050"/>
                </a:cubicBezTo>
                <a:cubicBezTo>
                  <a:pt x="2765" y="3086"/>
                  <a:pt x="3043" y="3077"/>
                  <a:pt x="3316" y="3026"/>
                </a:cubicBezTo>
                <a:lnTo>
                  <a:pt x="3206" y="3203"/>
                </a:lnTo>
                <a:cubicBezTo>
                  <a:pt x="3183" y="3240"/>
                  <a:pt x="3194" y="3289"/>
                  <a:pt x="3232" y="3312"/>
                </a:cubicBezTo>
                <a:cubicBezTo>
                  <a:pt x="3242" y="3318"/>
                  <a:pt x="3253" y="3322"/>
                  <a:pt x="3264" y="3324"/>
                </a:cubicBezTo>
                <a:cubicBezTo>
                  <a:pt x="3294" y="3327"/>
                  <a:pt x="3325" y="3314"/>
                  <a:pt x="3341" y="3286"/>
                </a:cubicBezTo>
                <a:lnTo>
                  <a:pt x="3587" y="2891"/>
                </a:lnTo>
                <a:lnTo>
                  <a:pt x="3225" y="2641"/>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6" name="Freeform 6">
            <a:extLst>
              <a:ext uri="{FF2B5EF4-FFF2-40B4-BE49-F238E27FC236}">
                <a16:creationId xmlns:a16="http://schemas.microsoft.com/office/drawing/2014/main" id="{4D90E888-254C-437C-8EA6-64B5A8F58E40}"/>
              </a:ext>
            </a:extLst>
          </p:cNvPr>
          <p:cNvSpPr>
            <a:spLocks/>
          </p:cNvSpPr>
          <p:nvPr/>
        </p:nvSpPr>
        <p:spPr bwMode="auto">
          <a:xfrm>
            <a:off x="7676914" y="2607810"/>
            <a:ext cx="777346" cy="2132238"/>
          </a:xfrm>
          <a:custGeom>
            <a:avLst/>
            <a:gdLst>
              <a:gd name="T0" fmla="*/ 790 w 1575"/>
              <a:gd name="T1" fmla="*/ 182 h 4321"/>
              <a:gd name="T2" fmla="*/ 965 w 1575"/>
              <a:gd name="T3" fmla="*/ 196 h 4321"/>
              <a:gd name="T4" fmla="*/ 1050 w 1575"/>
              <a:gd name="T5" fmla="*/ 122 h 4321"/>
              <a:gd name="T6" fmla="*/ 977 w 1575"/>
              <a:gd name="T7" fmla="*/ 36 h 4321"/>
              <a:gd name="T8" fmla="*/ 513 w 1575"/>
              <a:gd name="T9" fmla="*/ 0 h 4321"/>
              <a:gd name="T10" fmla="*/ 458 w 1575"/>
              <a:gd name="T11" fmla="*/ 438 h 4321"/>
              <a:gd name="T12" fmla="*/ 528 w 1575"/>
              <a:gd name="T13" fmla="*/ 526 h 4321"/>
              <a:gd name="T14" fmla="*/ 528 w 1575"/>
              <a:gd name="T15" fmla="*/ 526 h 4321"/>
              <a:gd name="T16" fmla="*/ 616 w 1575"/>
              <a:gd name="T17" fmla="*/ 458 h 4321"/>
              <a:gd name="T18" fmla="*/ 642 w 1575"/>
              <a:gd name="T19" fmla="*/ 257 h 4321"/>
              <a:gd name="T20" fmla="*/ 1317 w 1575"/>
              <a:gd name="T21" fmla="*/ 2304 h 4321"/>
              <a:gd name="T22" fmla="*/ 53 w 1575"/>
              <a:gd name="T23" fmla="*/ 4171 h 4321"/>
              <a:gd name="T24" fmla="*/ 22 w 1575"/>
              <a:gd name="T25" fmla="*/ 4279 h 4321"/>
              <a:gd name="T26" fmla="*/ 81 w 1575"/>
              <a:gd name="T27" fmla="*/ 4319 h 4321"/>
              <a:gd name="T28" fmla="*/ 130 w 1575"/>
              <a:gd name="T29" fmla="*/ 4310 h 4321"/>
              <a:gd name="T30" fmla="*/ 1475 w 1575"/>
              <a:gd name="T31" fmla="*/ 2324 h 4321"/>
              <a:gd name="T32" fmla="*/ 790 w 1575"/>
              <a:gd name="T33" fmla="*/ 182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75" h="4321">
                <a:moveTo>
                  <a:pt x="790" y="182"/>
                </a:moveTo>
                <a:lnTo>
                  <a:pt x="965" y="196"/>
                </a:lnTo>
                <a:cubicBezTo>
                  <a:pt x="1009" y="199"/>
                  <a:pt x="1047" y="166"/>
                  <a:pt x="1050" y="122"/>
                </a:cubicBezTo>
                <a:cubicBezTo>
                  <a:pt x="1054" y="78"/>
                  <a:pt x="1021" y="40"/>
                  <a:pt x="977" y="36"/>
                </a:cubicBezTo>
                <a:lnTo>
                  <a:pt x="513" y="0"/>
                </a:lnTo>
                <a:lnTo>
                  <a:pt x="458" y="438"/>
                </a:lnTo>
                <a:cubicBezTo>
                  <a:pt x="453" y="481"/>
                  <a:pt x="484" y="510"/>
                  <a:pt x="528" y="526"/>
                </a:cubicBezTo>
                <a:lnTo>
                  <a:pt x="528" y="526"/>
                </a:lnTo>
                <a:cubicBezTo>
                  <a:pt x="571" y="526"/>
                  <a:pt x="611" y="501"/>
                  <a:pt x="616" y="458"/>
                </a:cubicBezTo>
                <a:lnTo>
                  <a:pt x="642" y="257"/>
                </a:lnTo>
                <a:cubicBezTo>
                  <a:pt x="1162" y="801"/>
                  <a:pt x="1413" y="1555"/>
                  <a:pt x="1317" y="2304"/>
                </a:cubicBezTo>
                <a:cubicBezTo>
                  <a:pt x="1217" y="3088"/>
                  <a:pt x="744" y="3786"/>
                  <a:pt x="53" y="4171"/>
                </a:cubicBezTo>
                <a:cubicBezTo>
                  <a:pt x="14" y="4192"/>
                  <a:pt x="0" y="4241"/>
                  <a:pt x="22" y="4279"/>
                </a:cubicBezTo>
                <a:cubicBezTo>
                  <a:pt x="35" y="4302"/>
                  <a:pt x="57" y="4316"/>
                  <a:pt x="81" y="4319"/>
                </a:cubicBezTo>
                <a:cubicBezTo>
                  <a:pt x="98" y="4321"/>
                  <a:pt x="115" y="4318"/>
                  <a:pt x="130" y="4310"/>
                </a:cubicBezTo>
                <a:cubicBezTo>
                  <a:pt x="866" y="3900"/>
                  <a:pt x="1368" y="3158"/>
                  <a:pt x="1475" y="2324"/>
                </a:cubicBezTo>
                <a:cubicBezTo>
                  <a:pt x="1575" y="1544"/>
                  <a:pt x="1321" y="757"/>
                  <a:pt x="790" y="182"/>
                </a:cubicBezTo>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7" name="Freeform 7">
            <a:extLst>
              <a:ext uri="{FF2B5EF4-FFF2-40B4-BE49-F238E27FC236}">
                <a16:creationId xmlns:a16="http://schemas.microsoft.com/office/drawing/2014/main" id="{5B369C3B-B468-4E2B-92B4-99B370660CC2}"/>
              </a:ext>
            </a:extLst>
          </p:cNvPr>
          <p:cNvSpPr>
            <a:spLocks/>
          </p:cNvSpPr>
          <p:nvPr/>
        </p:nvSpPr>
        <p:spPr bwMode="auto">
          <a:xfrm>
            <a:off x="7199267" y="2130163"/>
            <a:ext cx="526034" cy="526035"/>
          </a:xfrm>
          <a:custGeom>
            <a:avLst/>
            <a:gdLst>
              <a:gd name="T0" fmla="*/ 1050 w 1065"/>
              <a:gd name="T1" fmla="*/ 558 h 1065"/>
              <a:gd name="T2" fmla="*/ 506 w 1065"/>
              <a:gd name="T3" fmla="*/ 1050 h 1065"/>
              <a:gd name="T4" fmla="*/ 14 w 1065"/>
              <a:gd name="T5" fmla="*/ 506 h 1065"/>
              <a:gd name="T6" fmla="*/ 558 w 1065"/>
              <a:gd name="T7" fmla="*/ 15 h 1065"/>
              <a:gd name="T8" fmla="*/ 1050 w 1065"/>
              <a:gd name="T9" fmla="*/ 558 h 1065"/>
            </a:gdLst>
            <a:ahLst/>
            <a:cxnLst>
              <a:cxn ang="0">
                <a:pos x="T0" y="T1"/>
              </a:cxn>
              <a:cxn ang="0">
                <a:pos x="T2" y="T3"/>
              </a:cxn>
              <a:cxn ang="0">
                <a:pos x="T4" y="T5"/>
              </a:cxn>
              <a:cxn ang="0">
                <a:pos x="T6" y="T7"/>
              </a:cxn>
              <a:cxn ang="0">
                <a:pos x="T8" y="T9"/>
              </a:cxn>
            </a:cxnLst>
            <a:rect l="0" t="0" r="r" b="b"/>
            <a:pathLst>
              <a:path w="1065" h="1065">
                <a:moveTo>
                  <a:pt x="1050" y="558"/>
                </a:moveTo>
                <a:cubicBezTo>
                  <a:pt x="1036" y="845"/>
                  <a:pt x="792" y="1065"/>
                  <a:pt x="506" y="1050"/>
                </a:cubicBezTo>
                <a:cubicBezTo>
                  <a:pt x="220" y="1036"/>
                  <a:pt x="0" y="792"/>
                  <a:pt x="14" y="506"/>
                </a:cubicBezTo>
                <a:cubicBezTo>
                  <a:pt x="29" y="220"/>
                  <a:pt x="272" y="0"/>
                  <a:pt x="558" y="15"/>
                </a:cubicBezTo>
                <a:cubicBezTo>
                  <a:pt x="844" y="29"/>
                  <a:pt x="1065" y="272"/>
                  <a:pt x="1050" y="558"/>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3</a:t>
            </a:r>
            <a:endParaRPr lang="ko-KR" altLang="en-US" dirty="0">
              <a:solidFill>
                <a:schemeClr val="bg1"/>
              </a:solidFill>
              <a:latin typeface="+mj-lt"/>
            </a:endParaRPr>
          </a:p>
        </p:txBody>
      </p:sp>
      <p:sp>
        <p:nvSpPr>
          <p:cNvPr id="8" name="Freeform 8">
            <a:extLst>
              <a:ext uri="{FF2B5EF4-FFF2-40B4-BE49-F238E27FC236}">
                <a16:creationId xmlns:a16="http://schemas.microsoft.com/office/drawing/2014/main" id="{717D4DC5-F36A-49F3-BB24-F714F684524C}"/>
              </a:ext>
            </a:extLst>
          </p:cNvPr>
          <p:cNvSpPr>
            <a:spLocks/>
          </p:cNvSpPr>
          <p:nvPr/>
        </p:nvSpPr>
        <p:spPr bwMode="auto">
          <a:xfrm>
            <a:off x="5618040" y="3355497"/>
            <a:ext cx="543206" cy="544766"/>
          </a:xfrm>
          <a:custGeom>
            <a:avLst/>
            <a:gdLst>
              <a:gd name="T0" fmla="*/ 1065 w 1101"/>
              <a:gd name="T1" fmla="*/ 617 h 1101"/>
              <a:gd name="T2" fmla="*/ 485 w 1101"/>
              <a:gd name="T3" fmla="*/ 1065 h 1101"/>
              <a:gd name="T4" fmla="*/ 36 w 1101"/>
              <a:gd name="T5" fmla="*/ 485 h 1101"/>
              <a:gd name="T6" fmla="*/ 616 w 1101"/>
              <a:gd name="T7" fmla="*/ 36 h 1101"/>
              <a:gd name="T8" fmla="*/ 1065 w 1101"/>
              <a:gd name="T9" fmla="*/ 617 h 1101"/>
            </a:gdLst>
            <a:ahLst/>
            <a:cxnLst>
              <a:cxn ang="0">
                <a:pos x="T0" y="T1"/>
              </a:cxn>
              <a:cxn ang="0">
                <a:pos x="T2" y="T3"/>
              </a:cxn>
              <a:cxn ang="0">
                <a:pos x="T4" y="T5"/>
              </a:cxn>
              <a:cxn ang="0">
                <a:pos x="T6" y="T7"/>
              </a:cxn>
              <a:cxn ang="0">
                <a:pos x="T8" y="T9"/>
              </a:cxn>
            </a:cxnLst>
            <a:rect l="0" t="0" r="r" b="b"/>
            <a:pathLst>
              <a:path w="1101" h="1101">
                <a:moveTo>
                  <a:pt x="1065" y="617"/>
                </a:moveTo>
                <a:cubicBezTo>
                  <a:pt x="1029" y="901"/>
                  <a:pt x="769" y="1101"/>
                  <a:pt x="485" y="1065"/>
                </a:cubicBezTo>
                <a:cubicBezTo>
                  <a:pt x="201" y="1029"/>
                  <a:pt x="0" y="769"/>
                  <a:pt x="36" y="485"/>
                </a:cubicBezTo>
                <a:cubicBezTo>
                  <a:pt x="73" y="201"/>
                  <a:pt x="332" y="0"/>
                  <a:pt x="616" y="36"/>
                </a:cubicBezTo>
                <a:cubicBezTo>
                  <a:pt x="901" y="73"/>
                  <a:pt x="1101" y="332"/>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a:solidFill>
                  <a:schemeClr val="bg1"/>
                </a:solidFill>
                <a:latin typeface="+mj-lt"/>
              </a:rPr>
              <a:t>1</a:t>
            </a:r>
            <a:endParaRPr lang="ko-KR" altLang="en-US">
              <a:solidFill>
                <a:schemeClr val="bg1"/>
              </a:solidFill>
              <a:latin typeface="+mj-lt"/>
            </a:endParaRPr>
          </a:p>
        </p:txBody>
      </p:sp>
      <p:sp>
        <p:nvSpPr>
          <p:cNvPr id="9" name="Freeform 9">
            <a:extLst>
              <a:ext uri="{FF2B5EF4-FFF2-40B4-BE49-F238E27FC236}">
                <a16:creationId xmlns:a16="http://schemas.microsoft.com/office/drawing/2014/main" id="{3A3A82A2-DABF-42A9-A321-BAB299E86511}"/>
              </a:ext>
            </a:extLst>
          </p:cNvPr>
          <p:cNvSpPr>
            <a:spLocks/>
          </p:cNvSpPr>
          <p:nvPr/>
        </p:nvSpPr>
        <p:spPr bwMode="auto">
          <a:xfrm>
            <a:off x="7536429" y="4331083"/>
            <a:ext cx="543206" cy="544766"/>
          </a:xfrm>
          <a:custGeom>
            <a:avLst/>
            <a:gdLst>
              <a:gd name="T0" fmla="*/ 1065 w 1102"/>
              <a:gd name="T1" fmla="*/ 617 h 1102"/>
              <a:gd name="T2" fmla="*/ 485 w 1102"/>
              <a:gd name="T3" fmla="*/ 1065 h 1102"/>
              <a:gd name="T4" fmla="*/ 36 w 1102"/>
              <a:gd name="T5" fmla="*/ 485 h 1102"/>
              <a:gd name="T6" fmla="*/ 617 w 1102"/>
              <a:gd name="T7" fmla="*/ 37 h 1102"/>
              <a:gd name="T8" fmla="*/ 1065 w 1102"/>
              <a:gd name="T9" fmla="*/ 617 h 1102"/>
            </a:gdLst>
            <a:ahLst/>
            <a:cxnLst>
              <a:cxn ang="0">
                <a:pos x="T0" y="T1"/>
              </a:cxn>
              <a:cxn ang="0">
                <a:pos x="T2" y="T3"/>
              </a:cxn>
              <a:cxn ang="0">
                <a:pos x="T4" y="T5"/>
              </a:cxn>
              <a:cxn ang="0">
                <a:pos x="T6" y="T7"/>
              </a:cxn>
              <a:cxn ang="0">
                <a:pos x="T8" y="T9"/>
              </a:cxn>
            </a:cxnLst>
            <a:rect l="0" t="0" r="r" b="b"/>
            <a:pathLst>
              <a:path w="1102" h="1102">
                <a:moveTo>
                  <a:pt x="1065" y="617"/>
                </a:moveTo>
                <a:cubicBezTo>
                  <a:pt x="1029" y="901"/>
                  <a:pt x="769" y="1102"/>
                  <a:pt x="485" y="1065"/>
                </a:cubicBezTo>
                <a:cubicBezTo>
                  <a:pt x="201" y="1029"/>
                  <a:pt x="0" y="769"/>
                  <a:pt x="36" y="485"/>
                </a:cubicBezTo>
                <a:cubicBezTo>
                  <a:pt x="73" y="201"/>
                  <a:pt x="333" y="0"/>
                  <a:pt x="617" y="37"/>
                </a:cubicBezTo>
                <a:cubicBezTo>
                  <a:pt x="901" y="73"/>
                  <a:pt x="1102" y="333"/>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2</a:t>
            </a:r>
            <a:endParaRPr lang="ko-KR" altLang="en-US" dirty="0">
              <a:solidFill>
                <a:schemeClr val="bg1"/>
              </a:solidFill>
              <a:latin typeface="+mj-lt"/>
            </a:endParaRPr>
          </a:p>
        </p:txBody>
      </p:sp>
      <p:sp>
        <p:nvSpPr>
          <p:cNvPr id="16" name="Freeform 16">
            <a:extLst>
              <a:ext uri="{FF2B5EF4-FFF2-40B4-BE49-F238E27FC236}">
                <a16:creationId xmlns:a16="http://schemas.microsoft.com/office/drawing/2014/main" id="{F7A8684D-97E6-4969-AD11-90AC49631160}"/>
              </a:ext>
            </a:extLst>
          </p:cNvPr>
          <p:cNvSpPr>
            <a:spLocks/>
          </p:cNvSpPr>
          <p:nvPr/>
        </p:nvSpPr>
        <p:spPr bwMode="auto">
          <a:xfrm>
            <a:off x="7334170" y="2714443"/>
            <a:ext cx="819765" cy="1527890"/>
          </a:xfrm>
          <a:custGeom>
            <a:avLst/>
            <a:gdLst>
              <a:gd name="T0" fmla="*/ 0 w 1626"/>
              <a:gd name="T1" fmla="*/ 578 h 3030"/>
              <a:gd name="T2" fmla="*/ 699 w 1626"/>
              <a:gd name="T3" fmla="*/ 2168 h 3030"/>
              <a:gd name="T4" fmla="*/ 424 w 1626"/>
              <a:gd name="T5" fmla="*/ 2599 h 3030"/>
              <a:gd name="T6" fmla="*/ 524 w 1626"/>
              <a:gd name="T7" fmla="*/ 2925 h 3030"/>
              <a:gd name="T8" fmla="*/ 848 w 1626"/>
              <a:gd name="T9" fmla="*/ 3030 h 3030"/>
              <a:gd name="T10" fmla="*/ 1265 w 1626"/>
              <a:gd name="T11" fmla="*/ 2382 h 3030"/>
              <a:gd name="T12" fmla="*/ 191 w 1626"/>
              <a:gd name="T13" fmla="*/ 2 h 3030"/>
              <a:gd name="T14" fmla="*/ 185 w 1626"/>
              <a:gd name="T15" fmla="*/ 0 h 3030"/>
              <a:gd name="T16" fmla="*/ 239 w 1626"/>
              <a:gd name="T17" fmla="*/ 349 h 3030"/>
              <a:gd name="T18" fmla="*/ 0 w 1626"/>
              <a:gd name="T19" fmla="*/ 578 h 3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6" h="3030">
                <a:moveTo>
                  <a:pt x="0" y="578"/>
                </a:moveTo>
                <a:cubicBezTo>
                  <a:pt x="626" y="828"/>
                  <a:pt x="939" y="1535"/>
                  <a:pt x="699" y="2168"/>
                </a:cubicBezTo>
                <a:cubicBezTo>
                  <a:pt x="637" y="2335"/>
                  <a:pt x="542" y="2480"/>
                  <a:pt x="424" y="2599"/>
                </a:cubicBezTo>
                <a:lnTo>
                  <a:pt x="524" y="2925"/>
                </a:lnTo>
                <a:lnTo>
                  <a:pt x="848" y="3030"/>
                </a:lnTo>
                <a:cubicBezTo>
                  <a:pt x="1026" y="2851"/>
                  <a:pt x="1170" y="2633"/>
                  <a:pt x="1265" y="2382"/>
                </a:cubicBezTo>
                <a:cubicBezTo>
                  <a:pt x="1626" y="1428"/>
                  <a:pt x="1145" y="363"/>
                  <a:pt x="191" y="2"/>
                </a:cubicBezTo>
                <a:cubicBezTo>
                  <a:pt x="189" y="2"/>
                  <a:pt x="187" y="1"/>
                  <a:pt x="185" y="0"/>
                </a:cubicBezTo>
                <a:lnTo>
                  <a:pt x="239" y="349"/>
                </a:lnTo>
                <a:lnTo>
                  <a:pt x="0" y="578"/>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7" name="Freeform 17">
            <a:extLst>
              <a:ext uri="{FF2B5EF4-FFF2-40B4-BE49-F238E27FC236}">
                <a16:creationId xmlns:a16="http://schemas.microsoft.com/office/drawing/2014/main" id="{1749DCA0-40BE-4E8F-9326-090D277035C7}"/>
              </a:ext>
            </a:extLst>
          </p:cNvPr>
          <p:cNvSpPr>
            <a:spLocks/>
          </p:cNvSpPr>
          <p:nvPr/>
        </p:nvSpPr>
        <p:spPr bwMode="auto">
          <a:xfrm>
            <a:off x="6158747" y="2564524"/>
            <a:ext cx="1205725" cy="1151500"/>
          </a:xfrm>
          <a:custGeom>
            <a:avLst/>
            <a:gdLst>
              <a:gd name="T0" fmla="*/ 644 w 2393"/>
              <a:gd name="T1" fmla="*/ 2214 h 2282"/>
              <a:gd name="T2" fmla="*/ 709 w 2393"/>
              <a:gd name="T3" fmla="*/ 1586 h 2282"/>
              <a:gd name="T4" fmla="*/ 2145 w 2393"/>
              <a:gd name="T5" fmla="*/ 814 h 2282"/>
              <a:gd name="T6" fmla="*/ 2393 w 2393"/>
              <a:gd name="T7" fmla="*/ 577 h 2282"/>
              <a:gd name="T8" fmla="*/ 2341 w 2393"/>
              <a:gd name="T9" fmla="*/ 239 h 2282"/>
              <a:gd name="T10" fmla="*/ 143 w 2393"/>
              <a:gd name="T11" fmla="*/ 1372 h 2282"/>
              <a:gd name="T12" fmla="*/ 42 w 2393"/>
              <a:gd name="T13" fmla="*/ 2282 h 2282"/>
              <a:gd name="T14" fmla="*/ 316 w 2393"/>
              <a:gd name="T15" fmla="*/ 2093 h 2282"/>
              <a:gd name="T16" fmla="*/ 644 w 2393"/>
              <a:gd name="T17" fmla="*/ 2214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3" h="2282">
                <a:moveTo>
                  <a:pt x="644" y="2214"/>
                </a:moveTo>
                <a:cubicBezTo>
                  <a:pt x="612" y="2009"/>
                  <a:pt x="631" y="1793"/>
                  <a:pt x="709" y="1586"/>
                </a:cubicBezTo>
                <a:cubicBezTo>
                  <a:pt x="931" y="998"/>
                  <a:pt x="1550" y="678"/>
                  <a:pt x="2145" y="814"/>
                </a:cubicBezTo>
                <a:lnTo>
                  <a:pt x="2393" y="577"/>
                </a:lnTo>
                <a:lnTo>
                  <a:pt x="2341" y="239"/>
                </a:lnTo>
                <a:cubicBezTo>
                  <a:pt x="1437" y="0"/>
                  <a:pt x="481" y="478"/>
                  <a:pt x="143" y="1372"/>
                </a:cubicBezTo>
                <a:cubicBezTo>
                  <a:pt x="30" y="1673"/>
                  <a:pt x="0" y="1985"/>
                  <a:pt x="42" y="2282"/>
                </a:cubicBezTo>
                <a:lnTo>
                  <a:pt x="316" y="2093"/>
                </a:lnTo>
                <a:lnTo>
                  <a:pt x="644" y="2214"/>
                </a:lnTo>
                <a:close/>
              </a:path>
            </a:pathLst>
          </a:custGeom>
          <a:gradFill flip="none" rotWithShape="1">
            <a:gsLst>
              <a:gs pos="0">
                <a:srgbClr val="B34768">
                  <a:alpha val="40000"/>
                </a:srgbClr>
              </a:gs>
              <a:gs pos="100000">
                <a:srgbClr val="3E8E86">
                  <a:alpha val="65000"/>
                </a:srgbClr>
              </a:gs>
              <a:gs pos="58000">
                <a:srgbClr val="2B2D78">
                  <a:alpha val="50196"/>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solidFill>
                <a:schemeClr val="lt1"/>
              </a:solidFill>
            </a:endParaRPr>
          </a:p>
        </p:txBody>
      </p:sp>
      <p:sp>
        <p:nvSpPr>
          <p:cNvPr id="18" name="Freeform 18">
            <a:extLst>
              <a:ext uri="{FF2B5EF4-FFF2-40B4-BE49-F238E27FC236}">
                <a16:creationId xmlns:a16="http://schemas.microsoft.com/office/drawing/2014/main" id="{1371966A-FAA6-40BE-8BCC-A28737069B3C}"/>
              </a:ext>
            </a:extLst>
          </p:cNvPr>
          <p:cNvSpPr>
            <a:spLocks/>
          </p:cNvSpPr>
          <p:nvPr/>
        </p:nvSpPr>
        <p:spPr bwMode="auto">
          <a:xfrm>
            <a:off x="6197025" y="3716025"/>
            <a:ext cx="1492802" cy="862827"/>
          </a:xfrm>
          <a:custGeom>
            <a:avLst/>
            <a:gdLst>
              <a:gd name="T0" fmla="*/ 2539 w 2963"/>
              <a:gd name="T1" fmla="*/ 736 h 1712"/>
              <a:gd name="T2" fmla="*/ 1355 w 2963"/>
              <a:gd name="T3" fmla="*/ 905 h 1712"/>
              <a:gd name="T4" fmla="*/ 616 w 2963"/>
              <a:gd name="T5" fmla="*/ 134 h 1712"/>
              <a:gd name="T6" fmla="*/ 257 w 2963"/>
              <a:gd name="T7" fmla="*/ 0 h 1712"/>
              <a:gd name="T8" fmla="*/ 0 w 2963"/>
              <a:gd name="T9" fmla="*/ 178 h 1712"/>
              <a:gd name="T10" fmla="*/ 1142 w 2963"/>
              <a:gd name="T11" fmla="*/ 1470 h 1712"/>
              <a:gd name="T12" fmla="*/ 2963 w 2963"/>
              <a:gd name="T13" fmla="*/ 1172 h 1712"/>
              <a:gd name="T14" fmla="*/ 2641 w 2963"/>
              <a:gd name="T15" fmla="*/ 1067 h 1712"/>
              <a:gd name="T16" fmla="*/ 2539 w 2963"/>
              <a:gd name="T17" fmla="*/ 736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1712">
                <a:moveTo>
                  <a:pt x="2539" y="736"/>
                </a:moveTo>
                <a:cubicBezTo>
                  <a:pt x="2211" y="982"/>
                  <a:pt x="1768" y="1060"/>
                  <a:pt x="1355" y="905"/>
                </a:cubicBezTo>
                <a:cubicBezTo>
                  <a:pt x="991" y="767"/>
                  <a:pt x="730" y="476"/>
                  <a:pt x="616" y="134"/>
                </a:cubicBezTo>
                <a:lnTo>
                  <a:pt x="257" y="0"/>
                </a:lnTo>
                <a:lnTo>
                  <a:pt x="0" y="178"/>
                </a:lnTo>
                <a:cubicBezTo>
                  <a:pt x="139" y="750"/>
                  <a:pt x="549" y="1247"/>
                  <a:pt x="1142" y="1470"/>
                </a:cubicBezTo>
                <a:cubicBezTo>
                  <a:pt x="1781" y="1712"/>
                  <a:pt x="2470" y="1575"/>
                  <a:pt x="2963" y="1172"/>
                </a:cubicBezTo>
                <a:lnTo>
                  <a:pt x="2641" y="1067"/>
                </a:lnTo>
                <a:lnTo>
                  <a:pt x="2539" y="736"/>
                </a:lnTo>
              </a:path>
            </a:pathLst>
          </a:custGeom>
          <a:gradFill flip="none" rotWithShape="1">
            <a:gsLst>
              <a:gs pos="0">
                <a:srgbClr val="B34768">
                  <a:alpha val="40000"/>
                </a:srgbClr>
              </a:gs>
              <a:gs pos="100000">
                <a:srgbClr val="3E8E86">
                  <a:alpha val="65000"/>
                </a:srgbClr>
              </a:gs>
              <a:gs pos="58000">
                <a:srgbClr val="2B2D78">
                  <a:alpha val="5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25" name="TextBox 24">
            <a:extLst>
              <a:ext uri="{FF2B5EF4-FFF2-40B4-BE49-F238E27FC236}">
                <a16:creationId xmlns:a16="http://schemas.microsoft.com/office/drawing/2014/main" id="{B361EBDE-3C55-4082-90DC-FFB7D83C8C2A}"/>
              </a:ext>
            </a:extLst>
          </p:cNvPr>
          <p:cNvSpPr txBox="1"/>
          <p:nvPr/>
        </p:nvSpPr>
        <p:spPr>
          <a:xfrm>
            <a:off x="1584498" y="2742463"/>
            <a:ext cx="3231270" cy="1768176"/>
          </a:xfrm>
          <a:prstGeom prst="rect">
            <a:avLst/>
          </a:prstGeom>
          <a:noFill/>
        </p:spPr>
        <p:txBody>
          <a:bodyPr wrap="square" rtlCol="0">
            <a:spAutoFit/>
          </a:bodyPr>
          <a:lstStyle/>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eed</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UI</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A</a:t>
            </a:r>
          </a:p>
          <a:p>
            <a:pPr marL="228600" indent="-228600">
              <a:lnSpc>
                <a:spcPct val="110000"/>
              </a:lnSpc>
              <a:buFont typeface="+mj-lt"/>
              <a:buAutoNum type="arabicPeriod"/>
            </a:pPr>
            <a:r>
              <a:rPr lang="en-US" altLang="ko-KR" sz="2000" dirty="0">
                <a:solidFill>
                  <a:srgbClr val="252525"/>
                </a:solidFill>
                <a:ea typeface="맑은 고딕" panose="020B0503020000020004" pitchFamily="50" charset="-127"/>
                <a:cs typeface="Calibri" panose="020F0502020204030204" pitchFamily="34" charset="0"/>
              </a:rPr>
              <a:t> Manifest</a:t>
            </a:r>
          </a:p>
          <a:p>
            <a:pPr marL="228600" indent="-228600">
              <a:lnSpc>
                <a:spcPct val="110000"/>
              </a:lnSpc>
              <a:buFont typeface="+mj-lt"/>
              <a:buAutoNum type="arabicPeriod"/>
            </a:pPr>
            <a:r>
              <a:rPr lang="en-US" altLang="ko-KR" sz="2000" dirty="0">
                <a:solidFill>
                  <a:srgbClr val="252525"/>
                </a:solidFill>
                <a:ea typeface="맑은 고딕" panose="020B0503020000020004" pitchFamily="50" charset="-127"/>
                <a:cs typeface="Calibri" panose="020F0502020204030204" pitchFamily="34" charset="0"/>
              </a:rPr>
              <a:t> Service Worker</a:t>
            </a:r>
          </a:p>
        </p:txBody>
      </p:sp>
      <p:sp>
        <p:nvSpPr>
          <p:cNvPr id="45" name="직사각형 44">
            <a:extLst>
              <a:ext uri="{FF2B5EF4-FFF2-40B4-BE49-F238E27FC236}">
                <a16:creationId xmlns:a16="http://schemas.microsoft.com/office/drawing/2014/main" id="{EA059522-73C3-45A8-BB54-6908F28CB0C9}"/>
              </a:ext>
            </a:extLst>
          </p:cNvPr>
          <p:cNvSpPr/>
          <p:nvPr/>
        </p:nvSpPr>
        <p:spPr>
          <a:xfrm>
            <a:off x="766916" y="704509"/>
            <a:ext cx="10671743" cy="5401323"/>
          </a:xfrm>
          <a:prstGeom prst="rect">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9" name="Graphic 18" descr="Web design outline">
            <a:extLst>
              <a:ext uri="{FF2B5EF4-FFF2-40B4-BE49-F238E27FC236}">
                <a16:creationId xmlns:a16="http://schemas.microsoft.com/office/drawing/2014/main" id="{FEA35901-0F42-9A49-A937-A96C4360E3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79290" y="3308909"/>
            <a:ext cx="635284" cy="635284"/>
          </a:xfrm>
          <a:prstGeom prst="rect">
            <a:avLst/>
          </a:prstGeom>
        </p:spPr>
      </p:pic>
    </p:spTree>
    <p:extLst>
      <p:ext uri="{BB962C8B-B14F-4D97-AF65-F5344CB8AC3E}">
        <p14:creationId xmlns:p14="http://schemas.microsoft.com/office/powerpoint/2010/main" val="15723687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xEl>
                                              <p:pRg st="0" end="0"/>
                                            </p:txEl>
                                          </p:spTgt>
                                        </p:tgtEl>
                                        <p:attrNameLst>
                                          <p:attrName>style.visibility</p:attrName>
                                        </p:attrNameLst>
                                      </p:cBhvr>
                                      <p:to>
                                        <p:strVal val="visible"/>
                                      </p:to>
                                    </p:set>
                                    <p:animEffect transition="in" filter="fade">
                                      <p:cBhvr>
                                        <p:cTn id="7" dur="500"/>
                                        <p:tgtEl>
                                          <p:spTgt spid="25">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5">
                                            <p:txEl>
                                              <p:pRg st="1" end="1"/>
                                            </p:txEl>
                                          </p:spTgt>
                                        </p:tgtEl>
                                        <p:attrNameLst>
                                          <p:attrName>style.visibility</p:attrName>
                                        </p:attrNameLst>
                                      </p:cBhvr>
                                      <p:to>
                                        <p:strVal val="visible"/>
                                      </p:to>
                                    </p:set>
                                    <p:animEffect transition="in" filter="fade">
                                      <p:cBhvr>
                                        <p:cTn id="23" dur="500"/>
                                        <p:tgtEl>
                                          <p:spTgt spid="25">
                                            <p:txEl>
                                              <p:pRg st="1" end="1"/>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fade">
                                      <p:cBhvr>
                                        <p:cTn id="28" dur="500"/>
                                        <p:tgtEl>
                                          <p:spTgt spid="9"/>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fade">
                                      <p:cBhvr>
                                        <p:cTn id="31" dur="500"/>
                                        <p:tgtEl>
                                          <p:spTgt spid="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fade">
                                      <p:cBhvr>
                                        <p:cTn id="34" dur="500"/>
                                        <p:tgtEl>
                                          <p:spTgt spid="1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5">
                                            <p:txEl>
                                              <p:pRg st="2" end="2"/>
                                            </p:txEl>
                                          </p:spTgt>
                                        </p:tgtEl>
                                        <p:attrNameLst>
                                          <p:attrName>style.visibility</p:attrName>
                                        </p:attrNameLst>
                                      </p:cBhvr>
                                      <p:to>
                                        <p:strVal val="visible"/>
                                      </p:to>
                                    </p:set>
                                    <p:animEffect transition="in" filter="fade">
                                      <p:cBhvr>
                                        <p:cTn id="39" dur="500"/>
                                        <p:tgtEl>
                                          <p:spTgt spid="25">
                                            <p:txEl>
                                              <p:pRg st="2" end="2"/>
                                            </p:txEl>
                                          </p:spTgt>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7"/>
                                        </p:tgtEl>
                                        <p:attrNameLst>
                                          <p:attrName>style.visibility</p:attrName>
                                        </p:attrNameLst>
                                      </p:cBhvr>
                                      <p:to>
                                        <p:strVal val="visible"/>
                                      </p:to>
                                    </p:set>
                                    <p:animEffect transition="in" filter="fade">
                                      <p:cBhvr>
                                        <p:cTn id="44" dur="500"/>
                                        <p:tgtEl>
                                          <p:spTgt spid="7"/>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500"/>
                                        <p:tgtEl>
                                          <p:spTgt spid="17"/>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
                                        </p:tgtEl>
                                        <p:attrNameLst>
                                          <p:attrName>style.visibility</p:attrName>
                                        </p:attrNameLst>
                                      </p:cBhvr>
                                      <p:to>
                                        <p:strVal val="visible"/>
                                      </p:to>
                                    </p:set>
                                    <p:animEffect transition="in" filter="fade">
                                      <p:cBhvr>
                                        <p:cTn id="50" dur="500"/>
                                        <p:tgtEl>
                                          <p:spTgt spid="4"/>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15"/>
                                        </p:tgtEl>
                                        <p:attrNameLst>
                                          <p:attrName>style.visibility</p:attrName>
                                        </p:attrNameLst>
                                      </p:cBhvr>
                                      <p:to>
                                        <p:strVal val="visible"/>
                                      </p:to>
                                    </p:set>
                                    <p:animEffect transition="in" filter="fade">
                                      <p:cBhvr>
                                        <p:cTn id="55" dur="500"/>
                                        <p:tgtEl>
                                          <p:spTgt spid="15"/>
                                        </p:tgtEl>
                                      </p:cBhvr>
                                    </p:animEffect>
                                  </p:childTnLst>
                                </p:cTn>
                              </p:par>
                              <p:par>
                                <p:cTn id="56" presetID="10" presetClass="entr" presetSubtype="0" fill="hold" nodeType="withEffect">
                                  <p:stCondLst>
                                    <p:cond delay="0"/>
                                  </p:stCondLst>
                                  <p:childTnLst>
                                    <p:set>
                                      <p:cBhvr>
                                        <p:cTn id="57" dur="1" fill="hold">
                                          <p:stCondLst>
                                            <p:cond delay="0"/>
                                          </p:stCondLst>
                                        </p:cTn>
                                        <p:tgtEl>
                                          <p:spTgt spid="19"/>
                                        </p:tgtEl>
                                        <p:attrNameLst>
                                          <p:attrName>style.visibility</p:attrName>
                                        </p:attrNameLst>
                                      </p:cBhvr>
                                      <p:to>
                                        <p:strVal val="visible"/>
                                      </p:to>
                                    </p:set>
                                    <p:animEffect transition="in" filter="fade">
                                      <p:cBhvr>
                                        <p:cTn id="5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4" grpId="0" animBg="1"/>
      <p:bldP spid="5" grpId="0" animBg="1"/>
      <p:bldP spid="6" grpId="0" animBg="1"/>
      <p:bldP spid="7" grpId="0" animBg="1"/>
      <p:bldP spid="8" grpId="0" animBg="1"/>
      <p:bldP spid="9" grpId="0" animBg="1"/>
      <p:bldP spid="16" grpId="0" animBg="1"/>
      <p:bldP spid="17" grpId="0" animBg="1"/>
      <p:bldP spid="18"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2A12537-A804-1343-B6E0-2475DC0E7DC0}"/>
              </a:ext>
            </a:extLst>
          </p:cNvPr>
          <p:cNvGraphicFramePr>
            <a:graphicFrameLocks noChangeAspect="1"/>
          </p:cNvGraphicFramePr>
          <p:nvPr>
            <p:custDataLst>
              <p:tags r:id="rId2"/>
            </p:custDataLst>
            <p:extLst>
              <p:ext uri="{D42A27DB-BD31-4B8C-83A1-F6EECF244321}">
                <p14:modId xmlns:p14="http://schemas.microsoft.com/office/powerpoint/2010/main" val="15231213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76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76482" name="Picture 2" descr="The 'is this a pigeon' meme is the new 'distracted boyfriend' and it's way  too real">
            <a:extLst>
              <a:ext uri="{FF2B5EF4-FFF2-40B4-BE49-F238E27FC236}">
                <a16:creationId xmlns:a16="http://schemas.microsoft.com/office/drawing/2014/main" id="{74F90C31-6340-1B46-8692-4512954FB45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4880"/>
          <a:stretch/>
        </p:blipFill>
        <p:spPr bwMode="auto">
          <a:xfrm>
            <a:off x="0" y="-1090246"/>
            <a:ext cx="12192000" cy="8703842"/>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CAF89257-2E9B-594E-B503-F88A252F2C7D}"/>
              </a:ext>
            </a:extLst>
          </p:cNvPr>
          <p:cNvPicPr>
            <a:picLocks noChangeAspect="1"/>
          </p:cNvPicPr>
          <p:nvPr/>
        </p:nvPicPr>
        <p:blipFill>
          <a:blip r:embed="rId8"/>
          <a:stretch>
            <a:fillRect/>
          </a:stretch>
        </p:blipFill>
        <p:spPr>
          <a:xfrm>
            <a:off x="7636510" y="0"/>
            <a:ext cx="2794000" cy="2895600"/>
          </a:xfrm>
          <a:prstGeom prst="rect">
            <a:avLst/>
          </a:prstGeom>
          <a:solidFill>
            <a:schemeClr val="tx1"/>
          </a:solidFill>
          <a:ln w="127000">
            <a:solidFill>
              <a:srgbClr val="252525"/>
            </a:solidFill>
          </a:ln>
        </p:spPr>
      </p:pic>
      <p:sp>
        <p:nvSpPr>
          <p:cNvPr id="16" name="TextBox 15">
            <a:extLst>
              <a:ext uri="{FF2B5EF4-FFF2-40B4-BE49-F238E27FC236}">
                <a16:creationId xmlns:a16="http://schemas.microsoft.com/office/drawing/2014/main" id="{D1ED1D80-3F07-2F4F-B76A-25F634C03B79}"/>
              </a:ext>
            </a:extLst>
          </p:cNvPr>
          <p:cNvSpPr txBox="1"/>
          <p:nvPr/>
        </p:nvSpPr>
        <p:spPr>
          <a:xfrm>
            <a:off x="3750198" y="5432483"/>
            <a:ext cx="3437681" cy="906366"/>
          </a:xfrm>
          <a:prstGeom prst="rect">
            <a:avLst/>
          </a:prstGeom>
          <a:solidFill>
            <a:schemeClr val="bg2"/>
          </a:solidFill>
        </p:spPr>
        <p:txBody>
          <a:bodyPr wrap="square" lIns="90000" tIns="144000" bIns="144000" rtlCol="0">
            <a:spAutoFit/>
          </a:bodyPr>
          <a:lstStyle/>
          <a:p>
            <a:pPr algn="ctr"/>
            <a:r>
              <a:rPr lang="en-US" sz="4000" dirty="0">
                <a:solidFill>
                  <a:schemeClr val="bg1"/>
                </a:solidFill>
              </a:rPr>
              <a:t>Is this PWA?</a:t>
            </a:r>
          </a:p>
        </p:txBody>
      </p:sp>
    </p:spTree>
    <p:extLst>
      <p:ext uri="{BB962C8B-B14F-4D97-AF65-F5344CB8AC3E}">
        <p14:creationId xmlns:p14="http://schemas.microsoft.com/office/powerpoint/2010/main" val="59955380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908382-A7D1-B641-9E23-A0FB6BC26C1D}"/>
              </a:ext>
            </a:extLst>
          </p:cNvPr>
          <p:cNvGraphicFramePr>
            <a:graphicFrameLocks noChangeAspect="1"/>
          </p:cNvGraphicFramePr>
          <p:nvPr>
            <p:custDataLst>
              <p:tags r:id="rId2"/>
            </p:custDataLst>
            <p:extLst>
              <p:ext uri="{D42A27DB-BD31-4B8C-83A1-F6EECF244321}">
                <p14:modId xmlns:p14="http://schemas.microsoft.com/office/powerpoint/2010/main" val="150488594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610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2" name="Diagram 1">
            <a:extLst>
              <a:ext uri="{FF2B5EF4-FFF2-40B4-BE49-F238E27FC236}">
                <a16:creationId xmlns:a16="http://schemas.microsoft.com/office/drawing/2014/main" id="{7CA8749B-0FB0-442A-B207-E04F0F681506}"/>
              </a:ext>
            </a:extLst>
          </p:cNvPr>
          <p:cNvGraphicFramePr/>
          <p:nvPr>
            <p:extLst>
              <p:ext uri="{D42A27DB-BD31-4B8C-83A1-F6EECF244321}">
                <p14:modId xmlns:p14="http://schemas.microsoft.com/office/powerpoint/2010/main" val="987941635"/>
              </p:ext>
            </p:extLst>
          </p:nvPr>
        </p:nvGraphicFramePr>
        <p:xfrm>
          <a:off x="1335464" y="255309"/>
          <a:ext cx="9521072" cy="634738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1605837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2">
                                            <p:graphicEl>
                                              <a:dgm id="{E9578D23-E4CA-460C-9F03-DFD4937FFC6B}"/>
                                            </p:graphicEl>
                                          </p:spTgt>
                                        </p:tgtEl>
                                      </p:cBhvr>
                                      <p:by x="150000" y="150000"/>
                                    </p:animScale>
                                  </p:childTnLst>
                                </p:cTn>
                              </p:par>
                            </p:childTnLst>
                          </p:cTn>
                        </p:par>
                      </p:childTnLst>
                    </p:cTn>
                  </p:par>
                  <p:par>
                    <p:cTn id="7" fill="hold">
                      <p:stCondLst>
                        <p:cond delay="indefinite"/>
                      </p:stCondLst>
                      <p:childTnLst>
                        <p:par>
                          <p:cTn id="8" fill="hold">
                            <p:stCondLst>
                              <p:cond delay="0"/>
                            </p:stCondLst>
                            <p:childTnLst>
                              <p:par>
                                <p:cTn id="9" presetID="6" presetClass="emph" presetSubtype="0" fill="hold" grpId="0" nodeType="clickEffect">
                                  <p:stCondLst>
                                    <p:cond delay="0"/>
                                  </p:stCondLst>
                                  <p:childTnLst>
                                    <p:animScale>
                                      <p:cBhvr>
                                        <p:cTn id="10" dur="2000" fill="hold"/>
                                        <p:tgtEl>
                                          <p:spTgt spid="2">
                                            <p:graphicEl>
                                              <a:dgm id="{71A714F8-BF97-41CD-BFA3-0B1D819FDDC3}"/>
                                            </p:graphicEl>
                                          </p:spTgt>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2">
                                            <p:graphicEl>
                                              <a:dgm id="{AED24801-9CB8-4576-8EB2-C4964A5B9EE9}"/>
                                            </p:graphicEl>
                                          </p:spTgt>
                                        </p:tgtEl>
                                      </p:cBhvr>
                                      <p:by x="150000" y="150000"/>
                                    </p:animScale>
                                  </p:childTnLst>
                                </p:cTn>
                              </p:par>
                            </p:childTnLst>
                          </p:cTn>
                        </p:par>
                      </p:childTnLst>
                    </p:cTn>
                  </p:par>
                  <p:par>
                    <p:cTn id="15" fill="hold">
                      <p:stCondLst>
                        <p:cond delay="indefinite"/>
                      </p:stCondLst>
                      <p:childTnLst>
                        <p:par>
                          <p:cTn id="16" fill="hold">
                            <p:stCondLst>
                              <p:cond delay="0"/>
                            </p:stCondLst>
                            <p:childTnLst>
                              <p:par>
                                <p:cTn id="17" presetID="6" presetClass="emph" presetSubtype="0" fill="hold" grpId="0" nodeType="clickEffect">
                                  <p:stCondLst>
                                    <p:cond delay="0"/>
                                  </p:stCondLst>
                                  <p:childTnLst>
                                    <p:animScale>
                                      <p:cBhvr>
                                        <p:cTn id="18" dur="2000" fill="hold"/>
                                        <p:tgtEl>
                                          <p:spTgt spid="2">
                                            <p:graphicEl>
                                              <a:dgm id="{C3DF1F0E-3768-4D0E-B06B-9DCE7C3489F7}"/>
                                            </p:graphicEl>
                                          </p:spTgt>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one"/>
        </p:bldSub>
      </p:bldGraphic>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EFDC92-50E4-B04E-92EE-676045F8B280}"/>
              </a:ext>
            </a:extLst>
          </p:cNvPr>
          <p:cNvGraphicFramePr>
            <a:graphicFrameLocks noChangeAspect="1"/>
          </p:cNvGraphicFramePr>
          <p:nvPr>
            <p:custDataLst>
              <p:tags r:id="rId2"/>
            </p:custDataLst>
            <p:extLst>
              <p:ext uri="{D42A27DB-BD31-4B8C-83A1-F6EECF244321}">
                <p14:modId xmlns:p14="http://schemas.microsoft.com/office/powerpoint/2010/main" val="1209293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7788"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E9EFDC92-50E4-B04E-92EE-676045F8B2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 name="Freeform 15">
            <a:extLst>
              <a:ext uri="{FF2B5EF4-FFF2-40B4-BE49-F238E27FC236}">
                <a16:creationId xmlns:a16="http://schemas.microsoft.com/office/drawing/2014/main" id="{8250AD98-E03E-45F3-86D7-FCF0CF9605BE}"/>
              </a:ext>
            </a:extLst>
          </p:cNvPr>
          <p:cNvSpPr>
            <a:spLocks/>
          </p:cNvSpPr>
          <p:nvPr/>
        </p:nvSpPr>
        <p:spPr bwMode="auto">
          <a:xfrm>
            <a:off x="6501645" y="2987167"/>
            <a:ext cx="1197751" cy="1199346"/>
          </a:xfrm>
          <a:custGeom>
            <a:avLst/>
            <a:gdLst>
              <a:gd name="T0" fmla="*/ 1561 w 2378"/>
              <a:gd name="T1" fmla="*/ 206 h 2379"/>
              <a:gd name="T2" fmla="*/ 205 w 2378"/>
              <a:gd name="T3" fmla="*/ 818 h 2379"/>
              <a:gd name="T4" fmla="*/ 817 w 2378"/>
              <a:gd name="T5" fmla="*/ 2173 h 2379"/>
              <a:gd name="T6" fmla="*/ 2173 w 2378"/>
              <a:gd name="T7" fmla="*/ 1561 h 2379"/>
              <a:gd name="T8" fmla="*/ 1561 w 2378"/>
              <a:gd name="T9" fmla="*/ 206 h 2379"/>
            </a:gdLst>
            <a:ahLst/>
            <a:cxnLst>
              <a:cxn ang="0">
                <a:pos x="T0" y="T1"/>
              </a:cxn>
              <a:cxn ang="0">
                <a:pos x="T2" y="T3"/>
              </a:cxn>
              <a:cxn ang="0">
                <a:pos x="T4" y="T5"/>
              </a:cxn>
              <a:cxn ang="0">
                <a:pos x="T6" y="T7"/>
              </a:cxn>
              <a:cxn ang="0">
                <a:pos x="T8" y="T9"/>
              </a:cxn>
            </a:cxnLst>
            <a:rect l="0" t="0" r="r" b="b"/>
            <a:pathLst>
              <a:path w="2378" h="2379">
                <a:moveTo>
                  <a:pt x="1561" y="206"/>
                </a:moveTo>
                <a:cubicBezTo>
                  <a:pt x="1018" y="0"/>
                  <a:pt x="411" y="274"/>
                  <a:pt x="205" y="818"/>
                </a:cubicBezTo>
                <a:cubicBezTo>
                  <a:pt x="0" y="1361"/>
                  <a:pt x="274" y="1968"/>
                  <a:pt x="817" y="2173"/>
                </a:cubicBezTo>
                <a:cubicBezTo>
                  <a:pt x="1361" y="2379"/>
                  <a:pt x="1968" y="2105"/>
                  <a:pt x="2173" y="1561"/>
                </a:cubicBezTo>
                <a:cubicBezTo>
                  <a:pt x="2378" y="1018"/>
                  <a:pt x="2104" y="411"/>
                  <a:pt x="1561" y="20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tLang="ko-KR" dirty="0">
              <a:solidFill>
                <a:schemeClr val="lt1"/>
              </a:solidFill>
            </a:endParaRPr>
          </a:p>
        </p:txBody>
      </p:sp>
      <p:sp>
        <p:nvSpPr>
          <p:cNvPr id="4" name="Freeform 4">
            <a:extLst>
              <a:ext uri="{FF2B5EF4-FFF2-40B4-BE49-F238E27FC236}">
                <a16:creationId xmlns:a16="http://schemas.microsoft.com/office/drawing/2014/main" id="{5B8F1811-4F23-4154-B85A-67BCA89C6796}"/>
              </a:ext>
            </a:extLst>
          </p:cNvPr>
          <p:cNvSpPr>
            <a:spLocks/>
          </p:cNvSpPr>
          <p:nvPr/>
        </p:nvSpPr>
        <p:spPr bwMode="auto">
          <a:xfrm>
            <a:off x="5753841" y="2240990"/>
            <a:ext cx="1826295" cy="1009926"/>
          </a:xfrm>
          <a:custGeom>
            <a:avLst/>
            <a:gdLst>
              <a:gd name="T0" fmla="*/ 3639 w 3701"/>
              <a:gd name="T1" fmla="*/ 221 h 2045"/>
              <a:gd name="T2" fmla="*/ 2848 w 3701"/>
              <a:gd name="T3" fmla="*/ 58 h 2045"/>
              <a:gd name="T4" fmla="*/ 239 w 3701"/>
              <a:gd name="T5" fmla="*/ 1739 h 2045"/>
              <a:gd name="T6" fmla="*/ 162 w 3701"/>
              <a:gd name="T7" fmla="*/ 1580 h 2045"/>
              <a:gd name="T8" fmla="*/ 56 w 3701"/>
              <a:gd name="T9" fmla="*/ 1544 h 2045"/>
              <a:gd name="T10" fmla="*/ 19 w 3701"/>
              <a:gd name="T11" fmla="*/ 1650 h 2045"/>
              <a:gd name="T12" fmla="*/ 212 w 3701"/>
              <a:gd name="T13" fmla="*/ 2045 h 2045"/>
              <a:gd name="T14" fmla="*/ 642 w 3701"/>
              <a:gd name="T15" fmla="*/ 1875 h 2045"/>
              <a:gd name="T16" fmla="*/ 687 w 3701"/>
              <a:gd name="T17" fmla="*/ 1772 h 2045"/>
              <a:gd name="T18" fmla="*/ 583 w 3701"/>
              <a:gd name="T19" fmla="*/ 1727 h 2045"/>
              <a:gd name="T20" fmla="*/ 384 w 3701"/>
              <a:gd name="T21" fmla="*/ 1806 h 2045"/>
              <a:gd name="T22" fmla="*/ 2840 w 3701"/>
              <a:gd name="T23" fmla="*/ 217 h 2045"/>
              <a:gd name="T24" fmla="*/ 3584 w 3701"/>
              <a:gd name="T25" fmla="*/ 370 h 2045"/>
              <a:gd name="T26" fmla="*/ 3686 w 3701"/>
              <a:gd name="T27" fmla="*/ 323 h 2045"/>
              <a:gd name="T28" fmla="*/ 3639 w 3701"/>
              <a:gd name="T29" fmla="*/ 221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01" h="2045">
                <a:moveTo>
                  <a:pt x="3639" y="221"/>
                </a:moveTo>
                <a:cubicBezTo>
                  <a:pt x="3386" y="127"/>
                  <a:pt x="3120" y="72"/>
                  <a:pt x="2848" y="58"/>
                </a:cubicBezTo>
                <a:cubicBezTo>
                  <a:pt x="1700" y="0"/>
                  <a:pt x="654" y="684"/>
                  <a:pt x="239" y="1739"/>
                </a:cubicBezTo>
                <a:lnTo>
                  <a:pt x="162" y="1580"/>
                </a:lnTo>
                <a:cubicBezTo>
                  <a:pt x="143" y="1541"/>
                  <a:pt x="95" y="1524"/>
                  <a:pt x="56" y="1544"/>
                </a:cubicBezTo>
                <a:cubicBezTo>
                  <a:pt x="16" y="1563"/>
                  <a:pt x="0" y="1611"/>
                  <a:pt x="19" y="1650"/>
                </a:cubicBezTo>
                <a:lnTo>
                  <a:pt x="212" y="2045"/>
                </a:lnTo>
                <a:lnTo>
                  <a:pt x="642" y="1875"/>
                </a:lnTo>
                <a:cubicBezTo>
                  <a:pt x="683" y="1859"/>
                  <a:pt x="703" y="1813"/>
                  <a:pt x="687" y="1772"/>
                </a:cubicBezTo>
                <a:cubicBezTo>
                  <a:pt x="671" y="1731"/>
                  <a:pt x="624" y="1711"/>
                  <a:pt x="583" y="1727"/>
                </a:cubicBezTo>
                <a:lnTo>
                  <a:pt x="384" y="1806"/>
                </a:lnTo>
                <a:cubicBezTo>
                  <a:pt x="772" y="809"/>
                  <a:pt x="1758" y="163"/>
                  <a:pt x="2840" y="217"/>
                </a:cubicBezTo>
                <a:cubicBezTo>
                  <a:pt x="3095" y="230"/>
                  <a:pt x="3346" y="281"/>
                  <a:pt x="3584" y="370"/>
                </a:cubicBezTo>
                <a:cubicBezTo>
                  <a:pt x="3625" y="385"/>
                  <a:pt x="3671" y="364"/>
                  <a:pt x="3686" y="323"/>
                </a:cubicBezTo>
                <a:cubicBezTo>
                  <a:pt x="3701" y="282"/>
                  <a:pt x="3680" y="236"/>
                  <a:pt x="3639" y="221"/>
                </a:cubicBez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5" name="Freeform 5">
            <a:extLst>
              <a:ext uri="{FF2B5EF4-FFF2-40B4-BE49-F238E27FC236}">
                <a16:creationId xmlns:a16="http://schemas.microsoft.com/office/drawing/2014/main" id="{D5057787-361D-4E7D-91F9-40F21BFD8080}"/>
              </a:ext>
            </a:extLst>
          </p:cNvPr>
          <p:cNvSpPr>
            <a:spLocks/>
          </p:cNvSpPr>
          <p:nvPr/>
        </p:nvSpPr>
        <p:spPr bwMode="auto">
          <a:xfrm>
            <a:off x="5710134" y="3385155"/>
            <a:ext cx="1770100" cy="1642105"/>
          </a:xfrm>
          <a:custGeom>
            <a:avLst/>
            <a:gdLst>
              <a:gd name="T0" fmla="*/ 3225 w 3587"/>
              <a:gd name="T1" fmla="*/ 2641 h 3327"/>
              <a:gd name="T2" fmla="*/ 3114 w 3587"/>
              <a:gd name="T3" fmla="*/ 2662 h 3327"/>
              <a:gd name="T4" fmla="*/ 3134 w 3587"/>
              <a:gd name="T5" fmla="*/ 2772 h 3327"/>
              <a:gd name="T6" fmla="*/ 3277 w 3587"/>
              <a:gd name="T7" fmla="*/ 2871 h 3327"/>
              <a:gd name="T8" fmla="*/ 2507 w 3587"/>
              <a:gd name="T9" fmla="*/ 2892 h 3327"/>
              <a:gd name="T10" fmla="*/ 345 w 3587"/>
              <a:gd name="T11" fmla="*/ 94 h 3327"/>
              <a:gd name="T12" fmla="*/ 276 w 3587"/>
              <a:gd name="T13" fmla="*/ 5 h 3327"/>
              <a:gd name="T14" fmla="*/ 187 w 3587"/>
              <a:gd name="T15" fmla="*/ 74 h 3327"/>
              <a:gd name="T16" fmla="*/ 2487 w 3587"/>
              <a:gd name="T17" fmla="*/ 3050 h 3327"/>
              <a:gd name="T18" fmla="*/ 3316 w 3587"/>
              <a:gd name="T19" fmla="*/ 3026 h 3327"/>
              <a:gd name="T20" fmla="*/ 3206 w 3587"/>
              <a:gd name="T21" fmla="*/ 3203 h 3327"/>
              <a:gd name="T22" fmla="*/ 3232 w 3587"/>
              <a:gd name="T23" fmla="*/ 3312 h 3327"/>
              <a:gd name="T24" fmla="*/ 3264 w 3587"/>
              <a:gd name="T25" fmla="*/ 3324 h 3327"/>
              <a:gd name="T26" fmla="*/ 3341 w 3587"/>
              <a:gd name="T27" fmla="*/ 3286 h 3327"/>
              <a:gd name="T28" fmla="*/ 3587 w 3587"/>
              <a:gd name="T29" fmla="*/ 2891 h 3327"/>
              <a:gd name="T30" fmla="*/ 3225 w 3587"/>
              <a:gd name="T31" fmla="*/ 2641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87" h="3327">
                <a:moveTo>
                  <a:pt x="3225" y="2641"/>
                </a:moveTo>
                <a:cubicBezTo>
                  <a:pt x="3188" y="2616"/>
                  <a:pt x="3139" y="2625"/>
                  <a:pt x="3114" y="2662"/>
                </a:cubicBezTo>
                <a:cubicBezTo>
                  <a:pt x="3089" y="2698"/>
                  <a:pt x="3098" y="2747"/>
                  <a:pt x="3134" y="2772"/>
                </a:cubicBezTo>
                <a:lnTo>
                  <a:pt x="3277" y="2871"/>
                </a:lnTo>
                <a:cubicBezTo>
                  <a:pt x="3024" y="2918"/>
                  <a:pt x="2766" y="2925"/>
                  <a:pt x="2507" y="2892"/>
                </a:cubicBezTo>
                <a:cubicBezTo>
                  <a:pt x="1140" y="2717"/>
                  <a:pt x="170" y="1462"/>
                  <a:pt x="345" y="94"/>
                </a:cubicBezTo>
                <a:cubicBezTo>
                  <a:pt x="350" y="51"/>
                  <a:pt x="319" y="11"/>
                  <a:pt x="276" y="5"/>
                </a:cubicBezTo>
                <a:cubicBezTo>
                  <a:pt x="232" y="0"/>
                  <a:pt x="192" y="30"/>
                  <a:pt x="187" y="74"/>
                </a:cubicBezTo>
                <a:cubicBezTo>
                  <a:pt x="0" y="1529"/>
                  <a:pt x="1032" y="2864"/>
                  <a:pt x="2487" y="3050"/>
                </a:cubicBezTo>
                <a:cubicBezTo>
                  <a:pt x="2765" y="3086"/>
                  <a:pt x="3043" y="3077"/>
                  <a:pt x="3316" y="3026"/>
                </a:cubicBezTo>
                <a:lnTo>
                  <a:pt x="3206" y="3203"/>
                </a:lnTo>
                <a:cubicBezTo>
                  <a:pt x="3183" y="3240"/>
                  <a:pt x="3194" y="3289"/>
                  <a:pt x="3232" y="3312"/>
                </a:cubicBezTo>
                <a:cubicBezTo>
                  <a:pt x="3242" y="3318"/>
                  <a:pt x="3253" y="3322"/>
                  <a:pt x="3264" y="3324"/>
                </a:cubicBezTo>
                <a:cubicBezTo>
                  <a:pt x="3294" y="3327"/>
                  <a:pt x="3325" y="3314"/>
                  <a:pt x="3341" y="3286"/>
                </a:cubicBezTo>
                <a:lnTo>
                  <a:pt x="3587" y="2891"/>
                </a:lnTo>
                <a:lnTo>
                  <a:pt x="3225" y="2641"/>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6" name="Freeform 6">
            <a:extLst>
              <a:ext uri="{FF2B5EF4-FFF2-40B4-BE49-F238E27FC236}">
                <a16:creationId xmlns:a16="http://schemas.microsoft.com/office/drawing/2014/main" id="{4D90E888-254C-437C-8EA6-64B5A8F58E40}"/>
              </a:ext>
            </a:extLst>
          </p:cNvPr>
          <p:cNvSpPr>
            <a:spLocks/>
          </p:cNvSpPr>
          <p:nvPr/>
        </p:nvSpPr>
        <p:spPr bwMode="auto">
          <a:xfrm>
            <a:off x="7676914" y="2607810"/>
            <a:ext cx="777346" cy="2132238"/>
          </a:xfrm>
          <a:custGeom>
            <a:avLst/>
            <a:gdLst>
              <a:gd name="T0" fmla="*/ 790 w 1575"/>
              <a:gd name="T1" fmla="*/ 182 h 4321"/>
              <a:gd name="T2" fmla="*/ 965 w 1575"/>
              <a:gd name="T3" fmla="*/ 196 h 4321"/>
              <a:gd name="T4" fmla="*/ 1050 w 1575"/>
              <a:gd name="T5" fmla="*/ 122 h 4321"/>
              <a:gd name="T6" fmla="*/ 977 w 1575"/>
              <a:gd name="T7" fmla="*/ 36 h 4321"/>
              <a:gd name="T8" fmla="*/ 513 w 1575"/>
              <a:gd name="T9" fmla="*/ 0 h 4321"/>
              <a:gd name="T10" fmla="*/ 458 w 1575"/>
              <a:gd name="T11" fmla="*/ 438 h 4321"/>
              <a:gd name="T12" fmla="*/ 528 w 1575"/>
              <a:gd name="T13" fmla="*/ 526 h 4321"/>
              <a:gd name="T14" fmla="*/ 528 w 1575"/>
              <a:gd name="T15" fmla="*/ 526 h 4321"/>
              <a:gd name="T16" fmla="*/ 616 w 1575"/>
              <a:gd name="T17" fmla="*/ 458 h 4321"/>
              <a:gd name="T18" fmla="*/ 642 w 1575"/>
              <a:gd name="T19" fmla="*/ 257 h 4321"/>
              <a:gd name="T20" fmla="*/ 1317 w 1575"/>
              <a:gd name="T21" fmla="*/ 2304 h 4321"/>
              <a:gd name="T22" fmla="*/ 53 w 1575"/>
              <a:gd name="T23" fmla="*/ 4171 h 4321"/>
              <a:gd name="T24" fmla="*/ 22 w 1575"/>
              <a:gd name="T25" fmla="*/ 4279 h 4321"/>
              <a:gd name="T26" fmla="*/ 81 w 1575"/>
              <a:gd name="T27" fmla="*/ 4319 h 4321"/>
              <a:gd name="T28" fmla="*/ 130 w 1575"/>
              <a:gd name="T29" fmla="*/ 4310 h 4321"/>
              <a:gd name="T30" fmla="*/ 1475 w 1575"/>
              <a:gd name="T31" fmla="*/ 2324 h 4321"/>
              <a:gd name="T32" fmla="*/ 790 w 1575"/>
              <a:gd name="T33" fmla="*/ 182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75" h="4321">
                <a:moveTo>
                  <a:pt x="790" y="182"/>
                </a:moveTo>
                <a:lnTo>
                  <a:pt x="965" y="196"/>
                </a:lnTo>
                <a:cubicBezTo>
                  <a:pt x="1009" y="199"/>
                  <a:pt x="1047" y="166"/>
                  <a:pt x="1050" y="122"/>
                </a:cubicBezTo>
                <a:cubicBezTo>
                  <a:pt x="1054" y="78"/>
                  <a:pt x="1021" y="40"/>
                  <a:pt x="977" y="36"/>
                </a:cubicBezTo>
                <a:lnTo>
                  <a:pt x="513" y="0"/>
                </a:lnTo>
                <a:lnTo>
                  <a:pt x="458" y="438"/>
                </a:lnTo>
                <a:cubicBezTo>
                  <a:pt x="453" y="481"/>
                  <a:pt x="484" y="510"/>
                  <a:pt x="528" y="526"/>
                </a:cubicBezTo>
                <a:lnTo>
                  <a:pt x="528" y="526"/>
                </a:lnTo>
                <a:cubicBezTo>
                  <a:pt x="571" y="526"/>
                  <a:pt x="611" y="501"/>
                  <a:pt x="616" y="458"/>
                </a:cubicBezTo>
                <a:lnTo>
                  <a:pt x="642" y="257"/>
                </a:lnTo>
                <a:cubicBezTo>
                  <a:pt x="1162" y="801"/>
                  <a:pt x="1413" y="1555"/>
                  <a:pt x="1317" y="2304"/>
                </a:cubicBezTo>
                <a:cubicBezTo>
                  <a:pt x="1217" y="3088"/>
                  <a:pt x="744" y="3786"/>
                  <a:pt x="53" y="4171"/>
                </a:cubicBezTo>
                <a:cubicBezTo>
                  <a:pt x="14" y="4192"/>
                  <a:pt x="0" y="4241"/>
                  <a:pt x="22" y="4279"/>
                </a:cubicBezTo>
                <a:cubicBezTo>
                  <a:pt x="35" y="4302"/>
                  <a:pt x="57" y="4316"/>
                  <a:pt x="81" y="4319"/>
                </a:cubicBezTo>
                <a:cubicBezTo>
                  <a:pt x="98" y="4321"/>
                  <a:pt x="115" y="4318"/>
                  <a:pt x="130" y="4310"/>
                </a:cubicBezTo>
                <a:cubicBezTo>
                  <a:pt x="866" y="3900"/>
                  <a:pt x="1368" y="3158"/>
                  <a:pt x="1475" y="2324"/>
                </a:cubicBezTo>
                <a:cubicBezTo>
                  <a:pt x="1575" y="1544"/>
                  <a:pt x="1321" y="757"/>
                  <a:pt x="790" y="182"/>
                </a:cubicBezTo>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7" name="Freeform 7">
            <a:extLst>
              <a:ext uri="{FF2B5EF4-FFF2-40B4-BE49-F238E27FC236}">
                <a16:creationId xmlns:a16="http://schemas.microsoft.com/office/drawing/2014/main" id="{5B369C3B-B468-4E2B-92B4-99B370660CC2}"/>
              </a:ext>
            </a:extLst>
          </p:cNvPr>
          <p:cNvSpPr>
            <a:spLocks/>
          </p:cNvSpPr>
          <p:nvPr/>
        </p:nvSpPr>
        <p:spPr bwMode="auto">
          <a:xfrm>
            <a:off x="7199267" y="2130163"/>
            <a:ext cx="526034" cy="526035"/>
          </a:xfrm>
          <a:custGeom>
            <a:avLst/>
            <a:gdLst>
              <a:gd name="T0" fmla="*/ 1050 w 1065"/>
              <a:gd name="T1" fmla="*/ 558 h 1065"/>
              <a:gd name="T2" fmla="*/ 506 w 1065"/>
              <a:gd name="T3" fmla="*/ 1050 h 1065"/>
              <a:gd name="T4" fmla="*/ 14 w 1065"/>
              <a:gd name="T5" fmla="*/ 506 h 1065"/>
              <a:gd name="T6" fmla="*/ 558 w 1065"/>
              <a:gd name="T7" fmla="*/ 15 h 1065"/>
              <a:gd name="T8" fmla="*/ 1050 w 1065"/>
              <a:gd name="T9" fmla="*/ 558 h 1065"/>
            </a:gdLst>
            <a:ahLst/>
            <a:cxnLst>
              <a:cxn ang="0">
                <a:pos x="T0" y="T1"/>
              </a:cxn>
              <a:cxn ang="0">
                <a:pos x="T2" y="T3"/>
              </a:cxn>
              <a:cxn ang="0">
                <a:pos x="T4" y="T5"/>
              </a:cxn>
              <a:cxn ang="0">
                <a:pos x="T6" y="T7"/>
              </a:cxn>
              <a:cxn ang="0">
                <a:pos x="T8" y="T9"/>
              </a:cxn>
            </a:cxnLst>
            <a:rect l="0" t="0" r="r" b="b"/>
            <a:pathLst>
              <a:path w="1065" h="1065">
                <a:moveTo>
                  <a:pt x="1050" y="558"/>
                </a:moveTo>
                <a:cubicBezTo>
                  <a:pt x="1036" y="845"/>
                  <a:pt x="792" y="1065"/>
                  <a:pt x="506" y="1050"/>
                </a:cubicBezTo>
                <a:cubicBezTo>
                  <a:pt x="220" y="1036"/>
                  <a:pt x="0" y="792"/>
                  <a:pt x="14" y="506"/>
                </a:cubicBezTo>
                <a:cubicBezTo>
                  <a:pt x="29" y="220"/>
                  <a:pt x="272" y="0"/>
                  <a:pt x="558" y="15"/>
                </a:cubicBezTo>
                <a:cubicBezTo>
                  <a:pt x="844" y="29"/>
                  <a:pt x="1065" y="272"/>
                  <a:pt x="1050" y="558"/>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3</a:t>
            </a:r>
            <a:endParaRPr lang="ko-KR" altLang="en-US" dirty="0">
              <a:solidFill>
                <a:schemeClr val="bg1"/>
              </a:solidFill>
              <a:latin typeface="+mj-lt"/>
            </a:endParaRPr>
          </a:p>
        </p:txBody>
      </p:sp>
      <p:sp>
        <p:nvSpPr>
          <p:cNvPr id="8" name="Freeform 8">
            <a:extLst>
              <a:ext uri="{FF2B5EF4-FFF2-40B4-BE49-F238E27FC236}">
                <a16:creationId xmlns:a16="http://schemas.microsoft.com/office/drawing/2014/main" id="{717D4DC5-F36A-49F3-BB24-F714F684524C}"/>
              </a:ext>
            </a:extLst>
          </p:cNvPr>
          <p:cNvSpPr>
            <a:spLocks/>
          </p:cNvSpPr>
          <p:nvPr/>
        </p:nvSpPr>
        <p:spPr bwMode="auto">
          <a:xfrm>
            <a:off x="5618040" y="3355497"/>
            <a:ext cx="543206" cy="544766"/>
          </a:xfrm>
          <a:custGeom>
            <a:avLst/>
            <a:gdLst>
              <a:gd name="T0" fmla="*/ 1065 w 1101"/>
              <a:gd name="T1" fmla="*/ 617 h 1101"/>
              <a:gd name="T2" fmla="*/ 485 w 1101"/>
              <a:gd name="T3" fmla="*/ 1065 h 1101"/>
              <a:gd name="T4" fmla="*/ 36 w 1101"/>
              <a:gd name="T5" fmla="*/ 485 h 1101"/>
              <a:gd name="T6" fmla="*/ 616 w 1101"/>
              <a:gd name="T7" fmla="*/ 36 h 1101"/>
              <a:gd name="T8" fmla="*/ 1065 w 1101"/>
              <a:gd name="T9" fmla="*/ 617 h 1101"/>
            </a:gdLst>
            <a:ahLst/>
            <a:cxnLst>
              <a:cxn ang="0">
                <a:pos x="T0" y="T1"/>
              </a:cxn>
              <a:cxn ang="0">
                <a:pos x="T2" y="T3"/>
              </a:cxn>
              <a:cxn ang="0">
                <a:pos x="T4" y="T5"/>
              </a:cxn>
              <a:cxn ang="0">
                <a:pos x="T6" y="T7"/>
              </a:cxn>
              <a:cxn ang="0">
                <a:pos x="T8" y="T9"/>
              </a:cxn>
            </a:cxnLst>
            <a:rect l="0" t="0" r="r" b="b"/>
            <a:pathLst>
              <a:path w="1101" h="1101">
                <a:moveTo>
                  <a:pt x="1065" y="617"/>
                </a:moveTo>
                <a:cubicBezTo>
                  <a:pt x="1029" y="901"/>
                  <a:pt x="769" y="1101"/>
                  <a:pt x="485" y="1065"/>
                </a:cubicBezTo>
                <a:cubicBezTo>
                  <a:pt x="201" y="1029"/>
                  <a:pt x="0" y="769"/>
                  <a:pt x="36" y="485"/>
                </a:cubicBezTo>
                <a:cubicBezTo>
                  <a:pt x="73" y="201"/>
                  <a:pt x="332" y="0"/>
                  <a:pt x="616" y="36"/>
                </a:cubicBezTo>
                <a:cubicBezTo>
                  <a:pt x="901" y="73"/>
                  <a:pt x="1101" y="332"/>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a:solidFill>
                  <a:schemeClr val="bg1"/>
                </a:solidFill>
                <a:latin typeface="+mj-lt"/>
              </a:rPr>
              <a:t>1</a:t>
            </a:r>
            <a:endParaRPr lang="ko-KR" altLang="en-US">
              <a:solidFill>
                <a:schemeClr val="bg1"/>
              </a:solidFill>
              <a:latin typeface="+mj-lt"/>
            </a:endParaRPr>
          </a:p>
        </p:txBody>
      </p:sp>
      <p:sp>
        <p:nvSpPr>
          <p:cNvPr id="9" name="Freeform 9">
            <a:extLst>
              <a:ext uri="{FF2B5EF4-FFF2-40B4-BE49-F238E27FC236}">
                <a16:creationId xmlns:a16="http://schemas.microsoft.com/office/drawing/2014/main" id="{3A3A82A2-DABF-42A9-A321-BAB299E86511}"/>
              </a:ext>
            </a:extLst>
          </p:cNvPr>
          <p:cNvSpPr>
            <a:spLocks/>
          </p:cNvSpPr>
          <p:nvPr/>
        </p:nvSpPr>
        <p:spPr bwMode="auto">
          <a:xfrm>
            <a:off x="7536429" y="4331083"/>
            <a:ext cx="543206" cy="544766"/>
          </a:xfrm>
          <a:custGeom>
            <a:avLst/>
            <a:gdLst>
              <a:gd name="T0" fmla="*/ 1065 w 1102"/>
              <a:gd name="T1" fmla="*/ 617 h 1102"/>
              <a:gd name="T2" fmla="*/ 485 w 1102"/>
              <a:gd name="T3" fmla="*/ 1065 h 1102"/>
              <a:gd name="T4" fmla="*/ 36 w 1102"/>
              <a:gd name="T5" fmla="*/ 485 h 1102"/>
              <a:gd name="T6" fmla="*/ 617 w 1102"/>
              <a:gd name="T7" fmla="*/ 37 h 1102"/>
              <a:gd name="T8" fmla="*/ 1065 w 1102"/>
              <a:gd name="T9" fmla="*/ 617 h 1102"/>
            </a:gdLst>
            <a:ahLst/>
            <a:cxnLst>
              <a:cxn ang="0">
                <a:pos x="T0" y="T1"/>
              </a:cxn>
              <a:cxn ang="0">
                <a:pos x="T2" y="T3"/>
              </a:cxn>
              <a:cxn ang="0">
                <a:pos x="T4" y="T5"/>
              </a:cxn>
              <a:cxn ang="0">
                <a:pos x="T6" y="T7"/>
              </a:cxn>
              <a:cxn ang="0">
                <a:pos x="T8" y="T9"/>
              </a:cxn>
            </a:cxnLst>
            <a:rect l="0" t="0" r="r" b="b"/>
            <a:pathLst>
              <a:path w="1102" h="1102">
                <a:moveTo>
                  <a:pt x="1065" y="617"/>
                </a:moveTo>
                <a:cubicBezTo>
                  <a:pt x="1029" y="901"/>
                  <a:pt x="769" y="1102"/>
                  <a:pt x="485" y="1065"/>
                </a:cubicBezTo>
                <a:cubicBezTo>
                  <a:pt x="201" y="1029"/>
                  <a:pt x="0" y="769"/>
                  <a:pt x="36" y="485"/>
                </a:cubicBezTo>
                <a:cubicBezTo>
                  <a:pt x="73" y="201"/>
                  <a:pt x="333" y="0"/>
                  <a:pt x="617" y="37"/>
                </a:cubicBezTo>
                <a:cubicBezTo>
                  <a:pt x="901" y="73"/>
                  <a:pt x="1102" y="333"/>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2</a:t>
            </a:r>
            <a:endParaRPr lang="ko-KR" altLang="en-US" dirty="0">
              <a:solidFill>
                <a:schemeClr val="bg1"/>
              </a:solidFill>
              <a:latin typeface="+mj-lt"/>
            </a:endParaRPr>
          </a:p>
        </p:txBody>
      </p:sp>
      <p:sp>
        <p:nvSpPr>
          <p:cNvPr id="12" name="Freeform 12">
            <a:extLst>
              <a:ext uri="{FF2B5EF4-FFF2-40B4-BE49-F238E27FC236}">
                <a16:creationId xmlns:a16="http://schemas.microsoft.com/office/drawing/2014/main" id="{72E3BC7D-862D-42A5-9105-F41E6D217DE2}"/>
              </a:ext>
            </a:extLst>
          </p:cNvPr>
          <p:cNvSpPr>
            <a:spLocks/>
          </p:cNvSpPr>
          <p:nvPr/>
        </p:nvSpPr>
        <p:spPr bwMode="auto">
          <a:xfrm>
            <a:off x="7689401" y="1661882"/>
            <a:ext cx="2258673" cy="555693"/>
          </a:xfrm>
          <a:custGeom>
            <a:avLst/>
            <a:gdLst>
              <a:gd name="T0" fmla="*/ 4500 w 4578"/>
              <a:gd name="T1" fmla="*/ 315 h 1125"/>
              <a:gd name="T2" fmla="*/ 4407 w 4578"/>
              <a:gd name="T3" fmla="*/ 251 h 1125"/>
              <a:gd name="T4" fmla="*/ 4343 w 4578"/>
              <a:gd name="T5" fmla="*/ 344 h 1125"/>
              <a:gd name="T6" fmla="*/ 4370 w 4578"/>
              <a:gd name="T7" fmla="*/ 490 h 1125"/>
              <a:gd name="T8" fmla="*/ 2538 w 4578"/>
              <a:gd name="T9" fmla="*/ 0 h 1125"/>
              <a:gd name="T10" fmla="*/ 34 w 4578"/>
              <a:gd name="T11" fmla="*/ 987 h 1125"/>
              <a:gd name="T12" fmla="*/ 30 w 4578"/>
              <a:gd name="T13" fmla="*/ 1099 h 1125"/>
              <a:gd name="T14" fmla="*/ 89 w 4578"/>
              <a:gd name="T15" fmla="*/ 1125 h 1125"/>
              <a:gd name="T16" fmla="*/ 143 w 4578"/>
              <a:gd name="T17" fmla="*/ 1103 h 1125"/>
              <a:gd name="T18" fmla="*/ 2538 w 4578"/>
              <a:gd name="T19" fmla="*/ 159 h 1125"/>
              <a:gd name="T20" fmla="*/ 4298 w 4578"/>
              <a:gd name="T21" fmla="*/ 632 h 1125"/>
              <a:gd name="T22" fmla="*/ 4126 w 4578"/>
              <a:gd name="T23" fmla="*/ 668 h 1125"/>
              <a:gd name="T24" fmla="*/ 4065 w 4578"/>
              <a:gd name="T25" fmla="*/ 762 h 1125"/>
              <a:gd name="T26" fmla="*/ 4143 w 4578"/>
              <a:gd name="T27" fmla="*/ 825 h 1125"/>
              <a:gd name="T28" fmla="*/ 4159 w 4578"/>
              <a:gd name="T29" fmla="*/ 824 h 1125"/>
              <a:gd name="T30" fmla="*/ 4578 w 4578"/>
              <a:gd name="T31" fmla="*/ 736 h 1125"/>
              <a:gd name="T32" fmla="*/ 4500 w 4578"/>
              <a:gd name="T33" fmla="*/ 315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78" h="1125">
                <a:moveTo>
                  <a:pt x="4500" y="315"/>
                </a:moveTo>
                <a:cubicBezTo>
                  <a:pt x="4492" y="272"/>
                  <a:pt x="4450" y="243"/>
                  <a:pt x="4407" y="251"/>
                </a:cubicBezTo>
                <a:cubicBezTo>
                  <a:pt x="4364" y="259"/>
                  <a:pt x="4335" y="301"/>
                  <a:pt x="4343" y="344"/>
                </a:cubicBezTo>
                <a:lnTo>
                  <a:pt x="4370" y="490"/>
                </a:lnTo>
                <a:cubicBezTo>
                  <a:pt x="3815" y="169"/>
                  <a:pt x="3185" y="0"/>
                  <a:pt x="2538" y="0"/>
                </a:cubicBezTo>
                <a:cubicBezTo>
                  <a:pt x="1605" y="0"/>
                  <a:pt x="716" y="350"/>
                  <a:pt x="34" y="987"/>
                </a:cubicBezTo>
                <a:cubicBezTo>
                  <a:pt x="2" y="1017"/>
                  <a:pt x="0" y="1067"/>
                  <a:pt x="30" y="1099"/>
                </a:cubicBezTo>
                <a:cubicBezTo>
                  <a:pt x="46" y="1116"/>
                  <a:pt x="67" y="1125"/>
                  <a:pt x="89" y="1125"/>
                </a:cubicBezTo>
                <a:cubicBezTo>
                  <a:pt x="108" y="1125"/>
                  <a:pt x="128" y="1118"/>
                  <a:pt x="143" y="1103"/>
                </a:cubicBezTo>
                <a:cubicBezTo>
                  <a:pt x="795" y="494"/>
                  <a:pt x="1646" y="159"/>
                  <a:pt x="2538" y="159"/>
                </a:cubicBezTo>
                <a:cubicBezTo>
                  <a:pt x="3160" y="159"/>
                  <a:pt x="3765" y="322"/>
                  <a:pt x="4298" y="632"/>
                </a:cubicBezTo>
                <a:lnTo>
                  <a:pt x="4126" y="668"/>
                </a:lnTo>
                <a:cubicBezTo>
                  <a:pt x="4083" y="677"/>
                  <a:pt x="4056" y="719"/>
                  <a:pt x="4065" y="762"/>
                </a:cubicBezTo>
                <a:cubicBezTo>
                  <a:pt x="4073" y="800"/>
                  <a:pt x="4106" y="825"/>
                  <a:pt x="4143" y="825"/>
                </a:cubicBezTo>
                <a:cubicBezTo>
                  <a:pt x="4148" y="825"/>
                  <a:pt x="4154" y="825"/>
                  <a:pt x="4159" y="824"/>
                </a:cubicBezTo>
                <a:lnTo>
                  <a:pt x="4578" y="736"/>
                </a:lnTo>
                <a:lnTo>
                  <a:pt x="4500" y="315"/>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4" name="Oval 14">
            <a:extLst>
              <a:ext uri="{FF2B5EF4-FFF2-40B4-BE49-F238E27FC236}">
                <a16:creationId xmlns:a16="http://schemas.microsoft.com/office/drawing/2014/main" id="{C5113A14-CBBE-40C2-A375-9BBBABF9ED52}"/>
              </a:ext>
            </a:extLst>
          </p:cNvPr>
          <p:cNvSpPr>
            <a:spLocks noChangeArrowheads="1"/>
          </p:cNvSpPr>
          <p:nvPr/>
        </p:nvSpPr>
        <p:spPr bwMode="auto">
          <a:xfrm>
            <a:off x="9960562" y="2053678"/>
            <a:ext cx="510426" cy="511986"/>
          </a:xfrm>
          <a:prstGeom prst="ellipse">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4</a:t>
            </a:r>
            <a:endParaRPr lang="ko-KR" altLang="en-US" dirty="0">
              <a:solidFill>
                <a:schemeClr val="bg1"/>
              </a:solidFill>
              <a:latin typeface="+mj-lt"/>
            </a:endParaRPr>
          </a:p>
        </p:txBody>
      </p:sp>
      <p:sp>
        <p:nvSpPr>
          <p:cNvPr id="16" name="Freeform 16">
            <a:extLst>
              <a:ext uri="{FF2B5EF4-FFF2-40B4-BE49-F238E27FC236}">
                <a16:creationId xmlns:a16="http://schemas.microsoft.com/office/drawing/2014/main" id="{F7A8684D-97E6-4969-AD11-90AC49631160}"/>
              </a:ext>
            </a:extLst>
          </p:cNvPr>
          <p:cNvSpPr>
            <a:spLocks/>
          </p:cNvSpPr>
          <p:nvPr/>
        </p:nvSpPr>
        <p:spPr bwMode="auto">
          <a:xfrm>
            <a:off x="7334170" y="2714443"/>
            <a:ext cx="819765" cy="1527890"/>
          </a:xfrm>
          <a:custGeom>
            <a:avLst/>
            <a:gdLst>
              <a:gd name="T0" fmla="*/ 0 w 1626"/>
              <a:gd name="T1" fmla="*/ 578 h 3030"/>
              <a:gd name="T2" fmla="*/ 699 w 1626"/>
              <a:gd name="T3" fmla="*/ 2168 h 3030"/>
              <a:gd name="T4" fmla="*/ 424 w 1626"/>
              <a:gd name="T5" fmla="*/ 2599 h 3030"/>
              <a:gd name="T6" fmla="*/ 524 w 1626"/>
              <a:gd name="T7" fmla="*/ 2925 h 3030"/>
              <a:gd name="T8" fmla="*/ 848 w 1626"/>
              <a:gd name="T9" fmla="*/ 3030 h 3030"/>
              <a:gd name="T10" fmla="*/ 1265 w 1626"/>
              <a:gd name="T11" fmla="*/ 2382 h 3030"/>
              <a:gd name="T12" fmla="*/ 191 w 1626"/>
              <a:gd name="T13" fmla="*/ 2 h 3030"/>
              <a:gd name="T14" fmla="*/ 185 w 1626"/>
              <a:gd name="T15" fmla="*/ 0 h 3030"/>
              <a:gd name="T16" fmla="*/ 239 w 1626"/>
              <a:gd name="T17" fmla="*/ 349 h 3030"/>
              <a:gd name="T18" fmla="*/ 0 w 1626"/>
              <a:gd name="T19" fmla="*/ 578 h 3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6" h="3030">
                <a:moveTo>
                  <a:pt x="0" y="578"/>
                </a:moveTo>
                <a:cubicBezTo>
                  <a:pt x="626" y="828"/>
                  <a:pt x="939" y="1535"/>
                  <a:pt x="699" y="2168"/>
                </a:cubicBezTo>
                <a:cubicBezTo>
                  <a:pt x="637" y="2335"/>
                  <a:pt x="542" y="2480"/>
                  <a:pt x="424" y="2599"/>
                </a:cubicBezTo>
                <a:lnTo>
                  <a:pt x="524" y="2925"/>
                </a:lnTo>
                <a:lnTo>
                  <a:pt x="848" y="3030"/>
                </a:lnTo>
                <a:cubicBezTo>
                  <a:pt x="1026" y="2851"/>
                  <a:pt x="1170" y="2633"/>
                  <a:pt x="1265" y="2382"/>
                </a:cubicBezTo>
                <a:cubicBezTo>
                  <a:pt x="1626" y="1428"/>
                  <a:pt x="1145" y="363"/>
                  <a:pt x="191" y="2"/>
                </a:cubicBezTo>
                <a:cubicBezTo>
                  <a:pt x="189" y="2"/>
                  <a:pt x="187" y="1"/>
                  <a:pt x="185" y="0"/>
                </a:cubicBezTo>
                <a:lnTo>
                  <a:pt x="239" y="349"/>
                </a:lnTo>
                <a:lnTo>
                  <a:pt x="0" y="578"/>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7" name="Freeform 17">
            <a:extLst>
              <a:ext uri="{FF2B5EF4-FFF2-40B4-BE49-F238E27FC236}">
                <a16:creationId xmlns:a16="http://schemas.microsoft.com/office/drawing/2014/main" id="{1749DCA0-40BE-4E8F-9326-090D277035C7}"/>
              </a:ext>
            </a:extLst>
          </p:cNvPr>
          <p:cNvSpPr>
            <a:spLocks/>
          </p:cNvSpPr>
          <p:nvPr/>
        </p:nvSpPr>
        <p:spPr bwMode="auto">
          <a:xfrm>
            <a:off x="6158747" y="2564524"/>
            <a:ext cx="1205725" cy="1151500"/>
          </a:xfrm>
          <a:custGeom>
            <a:avLst/>
            <a:gdLst>
              <a:gd name="T0" fmla="*/ 644 w 2393"/>
              <a:gd name="T1" fmla="*/ 2214 h 2282"/>
              <a:gd name="T2" fmla="*/ 709 w 2393"/>
              <a:gd name="T3" fmla="*/ 1586 h 2282"/>
              <a:gd name="T4" fmla="*/ 2145 w 2393"/>
              <a:gd name="T5" fmla="*/ 814 h 2282"/>
              <a:gd name="T6" fmla="*/ 2393 w 2393"/>
              <a:gd name="T7" fmla="*/ 577 h 2282"/>
              <a:gd name="T8" fmla="*/ 2341 w 2393"/>
              <a:gd name="T9" fmla="*/ 239 h 2282"/>
              <a:gd name="T10" fmla="*/ 143 w 2393"/>
              <a:gd name="T11" fmla="*/ 1372 h 2282"/>
              <a:gd name="T12" fmla="*/ 42 w 2393"/>
              <a:gd name="T13" fmla="*/ 2282 h 2282"/>
              <a:gd name="T14" fmla="*/ 316 w 2393"/>
              <a:gd name="T15" fmla="*/ 2093 h 2282"/>
              <a:gd name="T16" fmla="*/ 644 w 2393"/>
              <a:gd name="T17" fmla="*/ 2214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3" h="2282">
                <a:moveTo>
                  <a:pt x="644" y="2214"/>
                </a:moveTo>
                <a:cubicBezTo>
                  <a:pt x="612" y="2009"/>
                  <a:pt x="631" y="1793"/>
                  <a:pt x="709" y="1586"/>
                </a:cubicBezTo>
                <a:cubicBezTo>
                  <a:pt x="931" y="998"/>
                  <a:pt x="1550" y="678"/>
                  <a:pt x="2145" y="814"/>
                </a:cubicBezTo>
                <a:lnTo>
                  <a:pt x="2393" y="577"/>
                </a:lnTo>
                <a:lnTo>
                  <a:pt x="2341" y="239"/>
                </a:lnTo>
                <a:cubicBezTo>
                  <a:pt x="1437" y="0"/>
                  <a:pt x="481" y="478"/>
                  <a:pt x="143" y="1372"/>
                </a:cubicBezTo>
                <a:cubicBezTo>
                  <a:pt x="30" y="1673"/>
                  <a:pt x="0" y="1985"/>
                  <a:pt x="42" y="2282"/>
                </a:cubicBezTo>
                <a:lnTo>
                  <a:pt x="316" y="2093"/>
                </a:lnTo>
                <a:lnTo>
                  <a:pt x="644" y="2214"/>
                </a:ln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8" name="Freeform 18">
            <a:extLst>
              <a:ext uri="{FF2B5EF4-FFF2-40B4-BE49-F238E27FC236}">
                <a16:creationId xmlns:a16="http://schemas.microsoft.com/office/drawing/2014/main" id="{1371966A-FAA6-40BE-8BCC-A28737069B3C}"/>
              </a:ext>
            </a:extLst>
          </p:cNvPr>
          <p:cNvSpPr>
            <a:spLocks/>
          </p:cNvSpPr>
          <p:nvPr/>
        </p:nvSpPr>
        <p:spPr bwMode="auto">
          <a:xfrm>
            <a:off x="6197025" y="3716025"/>
            <a:ext cx="1492802" cy="862827"/>
          </a:xfrm>
          <a:custGeom>
            <a:avLst/>
            <a:gdLst>
              <a:gd name="T0" fmla="*/ 2539 w 2963"/>
              <a:gd name="T1" fmla="*/ 736 h 1712"/>
              <a:gd name="T2" fmla="*/ 1355 w 2963"/>
              <a:gd name="T3" fmla="*/ 905 h 1712"/>
              <a:gd name="T4" fmla="*/ 616 w 2963"/>
              <a:gd name="T5" fmla="*/ 134 h 1712"/>
              <a:gd name="T6" fmla="*/ 257 w 2963"/>
              <a:gd name="T7" fmla="*/ 0 h 1712"/>
              <a:gd name="T8" fmla="*/ 0 w 2963"/>
              <a:gd name="T9" fmla="*/ 178 h 1712"/>
              <a:gd name="T10" fmla="*/ 1142 w 2963"/>
              <a:gd name="T11" fmla="*/ 1470 h 1712"/>
              <a:gd name="T12" fmla="*/ 2963 w 2963"/>
              <a:gd name="T13" fmla="*/ 1172 h 1712"/>
              <a:gd name="T14" fmla="*/ 2641 w 2963"/>
              <a:gd name="T15" fmla="*/ 1067 h 1712"/>
              <a:gd name="T16" fmla="*/ 2539 w 2963"/>
              <a:gd name="T17" fmla="*/ 736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1712">
                <a:moveTo>
                  <a:pt x="2539" y="736"/>
                </a:moveTo>
                <a:cubicBezTo>
                  <a:pt x="2211" y="982"/>
                  <a:pt x="1768" y="1060"/>
                  <a:pt x="1355" y="905"/>
                </a:cubicBezTo>
                <a:cubicBezTo>
                  <a:pt x="991" y="767"/>
                  <a:pt x="730" y="476"/>
                  <a:pt x="616" y="134"/>
                </a:cubicBezTo>
                <a:lnTo>
                  <a:pt x="257" y="0"/>
                </a:lnTo>
                <a:lnTo>
                  <a:pt x="0" y="178"/>
                </a:lnTo>
                <a:cubicBezTo>
                  <a:pt x="139" y="750"/>
                  <a:pt x="549" y="1247"/>
                  <a:pt x="1142" y="1470"/>
                </a:cubicBezTo>
                <a:cubicBezTo>
                  <a:pt x="1781" y="1712"/>
                  <a:pt x="2470" y="1575"/>
                  <a:pt x="2963" y="1172"/>
                </a:cubicBezTo>
                <a:lnTo>
                  <a:pt x="2641" y="1067"/>
                </a:lnTo>
                <a:lnTo>
                  <a:pt x="2539" y="736"/>
                </a:lnTo>
              </a:path>
            </a:pathLst>
          </a:custGeom>
          <a:gradFill flip="none" rotWithShape="1">
            <a:gsLst>
              <a:gs pos="0">
                <a:srgbClr val="B34768">
                  <a:alpha val="40000"/>
                </a:srgbClr>
              </a:gs>
              <a:gs pos="100000">
                <a:srgbClr val="3E8E86">
                  <a:alpha val="65000"/>
                </a:srgbClr>
              </a:gs>
              <a:gs pos="58000">
                <a:srgbClr val="2B2D78">
                  <a:alpha val="5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45" name="직사각형 44">
            <a:extLst>
              <a:ext uri="{FF2B5EF4-FFF2-40B4-BE49-F238E27FC236}">
                <a16:creationId xmlns:a16="http://schemas.microsoft.com/office/drawing/2014/main" id="{EA059522-73C3-45A8-BB54-6908F28CB0C9}"/>
              </a:ext>
            </a:extLst>
          </p:cNvPr>
          <p:cNvSpPr/>
          <p:nvPr/>
        </p:nvSpPr>
        <p:spPr>
          <a:xfrm>
            <a:off x="766916" y="704509"/>
            <a:ext cx="10671743" cy="5401323"/>
          </a:xfrm>
          <a:prstGeom prst="rect">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9" name="Graphic 18" descr="Web design outline">
            <a:extLst>
              <a:ext uri="{FF2B5EF4-FFF2-40B4-BE49-F238E27FC236}">
                <a16:creationId xmlns:a16="http://schemas.microsoft.com/office/drawing/2014/main" id="{FEA35901-0F42-9A49-A937-A96C4360E3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79290" y="3308909"/>
            <a:ext cx="635284" cy="635284"/>
          </a:xfrm>
          <a:prstGeom prst="rect">
            <a:avLst/>
          </a:prstGeom>
        </p:spPr>
      </p:pic>
      <p:sp>
        <p:nvSpPr>
          <p:cNvPr id="26" name="제목 21">
            <a:extLst>
              <a:ext uri="{FF2B5EF4-FFF2-40B4-BE49-F238E27FC236}">
                <a16:creationId xmlns:a16="http://schemas.microsoft.com/office/drawing/2014/main" id="{3A1086A9-78BE-974C-967E-6B402B8A5650}"/>
              </a:ext>
            </a:extLst>
          </p:cNvPr>
          <p:cNvSpPr>
            <a:spLocks noGrp="1"/>
          </p:cNvSpPr>
          <p:nvPr>
            <p:ph type="title"/>
          </p:nvPr>
        </p:nvSpPr>
        <p:spPr>
          <a:xfrm>
            <a:off x="1173346" y="1190716"/>
            <a:ext cx="4929441" cy="731676"/>
          </a:xfrm>
        </p:spPr>
        <p:txBody>
          <a:bodyPr vert="horz"/>
          <a:lstStyle/>
          <a:p>
            <a:r>
              <a:rPr lang="en-US" altLang="ko-KR" dirty="0"/>
              <a:t>5 STEPS </a:t>
            </a:r>
            <a:r>
              <a:rPr lang="en-US" altLang="ko-KR"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PROCESS</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27" name="TextBox 26">
            <a:extLst>
              <a:ext uri="{FF2B5EF4-FFF2-40B4-BE49-F238E27FC236}">
                <a16:creationId xmlns:a16="http://schemas.microsoft.com/office/drawing/2014/main" id="{2A16803A-D066-DC4D-BF0E-6313096A4BBB}"/>
              </a:ext>
            </a:extLst>
          </p:cNvPr>
          <p:cNvSpPr txBox="1"/>
          <p:nvPr/>
        </p:nvSpPr>
        <p:spPr>
          <a:xfrm>
            <a:off x="1584498" y="2742463"/>
            <a:ext cx="3231270" cy="1429622"/>
          </a:xfrm>
          <a:prstGeom prst="rect">
            <a:avLst/>
          </a:prstGeom>
          <a:noFill/>
        </p:spPr>
        <p:txBody>
          <a:bodyPr wrap="square" rtlCol="0">
            <a:spAutoFit/>
          </a:bodyPr>
          <a:lstStyle/>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eed</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UI</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A</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Manifest</a:t>
            </a:r>
          </a:p>
        </p:txBody>
      </p:sp>
    </p:spTree>
    <p:extLst>
      <p:ext uri="{BB962C8B-B14F-4D97-AF65-F5344CB8AC3E}">
        <p14:creationId xmlns:p14="http://schemas.microsoft.com/office/powerpoint/2010/main" val="2643444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xEl>
                                              <p:pRg st="3" end="3"/>
                                            </p:txEl>
                                          </p:spTgt>
                                        </p:tgtEl>
                                        <p:attrNameLst>
                                          <p:attrName>style.visibility</p:attrName>
                                        </p:attrNameLst>
                                      </p:cBhvr>
                                      <p:to>
                                        <p:strVal val="visible"/>
                                      </p:to>
                                    </p:set>
                                    <p:animEffect transition="in" filter="fade">
                                      <p:cBhvr>
                                        <p:cTn id="7" dur="500"/>
                                        <p:tgtEl>
                                          <p:spTgt spid="27">
                                            <p:txEl>
                                              <p:pRg st="3" end="3"/>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fade">
                                      <p:cBhvr>
                                        <p:cTn id="15"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7DFEC0-EFB8-3941-B26A-C8B7203A563F}"/>
              </a:ext>
            </a:extLst>
          </p:cNvPr>
          <p:cNvGraphicFramePr>
            <a:graphicFrameLocks noChangeAspect="1"/>
          </p:cNvGraphicFramePr>
          <p:nvPr>
            <p:custDataLst>
              <p:tags r:id="rId2"/>
            </p:custDataLst>
            <p:extLst>
              <p:ext uri="{D42A27DB-BD31-4B8C-83A1-F6EECF244321}">
                <p14:modId xmlns:p14="http://schemas.microsoft.com/office/powerpoint/2010/main" val="24886915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1876"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BF3D1FD-1804-214A-A472-F8A17E29B615}"/>
              </a:ext>
            </a:extLst>
          </p:cNvPr>
          <p:cNvPicPr>
            <a:picLocks noChangeAspect="1"/>
          </p:cNvPicPr>
          <p:nvPr/>
        </p:nvPicPr>
        <p:blipFill>
          <a:blip r:embed="rId7"/>
          <a:stretch>
            <a:fillRect/>
          </a:stretch>
        </p:blipFill>
        <p:spPr>
          <a:xfrm>
            <a:off x="0" y="0"/>
            <a:ext cx="12192000" cy="7620000"/>
          </a:xfrm>
          <a:prstGeom prst="rect">
            <a:avLst/>
          </a:prstGeom>
        </p:spPr>
      </p:pic>
    </p:spTree>
    <p:extLst>
      <p:ext uri="{BB962C8B-B14F-4D97-AF65-F5344CB8AC3E}">
        <p14:creationId xmlns:p14="http://schemas.microsoft.com/office/powerpoint/2010/main" val="2595750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7DFEC0-EFB8-3941-B26A-C8B7203A563F}"/>
              </a:ext>
            </a:extLst>
          </p:cNvPr>
          <p:cNvGraphicFramePr>
            <a:graphicFrameLocks noChangeAspect="1"/>
          </p:cNvGraphicFramePr>
          <p:nvPr>
            <p:custDataLst>
              <p:tags r:id="rId2"/>
            </p:custDataLst>
            <p:extLst>
              <p:ext uri="{D42A27DB-BD31-4B8C-83A1-F6EECF244321}">
                <p14:modId xmlns:p14="http://schemas.microsoft.com/office/powerpoint/2010/main" val="4336690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9829"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D67DFEC0-EFB8-3941-B26A-C8B7203A563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EBF3D1FD-1804-214A-A472-F8A17E29B615}"/>
              </a:ext>
            </a:extLst>
          </p:cNvPr>
          <p:cNvPicPr>
            <a:picLocks noChangeAspect="1"/>
          </p:cNvPicPr>
          <p:nvPr/>
        </p:nvPicPr>
        <p:blipFill>
          <a:blip r:embed="rId7"/>
          <a:stretch>
            <a:fillRect/>
          </a:stretch>
        </p:blipFill>
        <p:spPr>
          <a:xfrm>
            <a:off x="-72455307" y="0"/>
            <a:ext cx="91440001" cy="57150001"/>
          </a:xfrm>
          <a:prstGeom prst="rect">
            <a:avLst/>
          </a:prstGeom>
        </p:spPr>
      </p:pic>
      <p:sp>
        <p:nvSpPr>
          <p:cNvPr id="7" name="Freeform 6">
            <a:extLst>
              <a:ext uri="{FF2B5EF4-FFF2-40B4-BE49-F238E27FC236}">
                <a16:creationId xmlns:a16="http://schemas.microsoft.com/office/drawing/2014/main" id="{846F8560-21A6-CC4F-8CDB-329035180618}"/>
              </a:ext>
            </a:extLst>
          </p:cNvPr>
          <p:cNvSpPr/>
          <p:nvPr/>
        </p:nvSpPr>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0 h 6858000"/>
              <a:gd name="connsiteX5" fmla="*/ 5976256 w 12192000"/>
              <a:gd name="connsiteY5" fmla="*/ 2090057 h 6858000"/>
              <a:gd name="connsiteX6" fmla="*/ 5029199 w 12192000"/>
              <a:gd name="connsiteY6" fmla="*/ 3037114 h 6858000"/>
              <a:gd name="connsiteX7" fmla="*/ 5976256 w 12192000"/>
              <a:gd name="connsiteY7" fmla="*/ 3984171 h 6858000"/>
              <a:gd name="connsiteX8" fmla="*/ 6923313 w 12192000"/>
              <a:gd name="connsiteY8" fmla="*/ 3037114 h 6858000"/>
              <a:gd name="connsiteX9" fmla="*/ 5976256 w 12192000"/>
              <a:gd name="connsiteY9" fmla="*/ 209005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8000">
                <a:moveTo>
                  <a:pt x="0" y="0"/>
                </a:moveTo>
                <a:lnTo>
                  <a:pt x="12192000" y="0"/>
                </a:lnTo>
                <a:lnTo>
                  <a:pt x="12192000" y="6858000"/>
                </a:lnTo>
                <a:lnTo>
                  <a:pt x="0" y="6858000"/>
                </a:lnTo>
                <a:lnTo>
                  <a:pt x="0" y="0"/>
                </a:lnTo>
                <a:close/>
                <a:moveTo>
                  <a:pt x="5976256" y="2090057"/>
                </a:moveTo>
                <a:cubicBezTo>
                  <a:pt x="5453211" y="2090057"/>
                  <a:pt x="5029199" y="2514069"/>
                  <a:pt x="5029199" y="3037114"/>
                </a:cubicBezTo>
                <a:cubicBezTo>
                  <a:pt x="5029199" y="3560159"/>
                  <a:pt x="5453211" y="3984171"/>
                  <a:pt x="5976256" y="3984171"/>
                </a:cubicBezTo>
                <a:cubicBezTo>
                  <a:pt x="6499301" y="3984171"/>
                  <a:pt x="6923313" y="3560159"/>
                  <a:pt x="6923313" y="3037114"/>
                </a:cubicBezTo>
                <a:cubicBezTo>
                  <a:pt x="6923313" y="2514069"/>
                  <a:pt x="6499301" y="2090057"/>
                  <a:pt x="5976256" y="2090057"/>
                </a:cubicBezTo>
                <a:close/>
              </a:path>
            </a:pathLst>
          </a:custGeom>
          <a:solidFill>
            <a:schemeClr val="tx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5354129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extLst>
              <p:ext uri="{D42A27DB-BD31-4B8C-83A1-F6EECF244321}">
                <p14:modId xmlns:p14="http://schemas.microsoft.com/office/powerpoint/2010/main" val="404856914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76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4763"/>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29" name="Group 28">
            <a:extLst>
              <a:ext uri="{FF2B5EF4-FFF2-40B4-BE49-F238E27FC236}">
                <a16:creationId xmlns:a16="http://schemas.microsoft.com/office/drawing/2014/main" id="{49FB2C65-980B-4A48-82FE-AEFE2B4A7083}"/>
              </a:ext>
            </a:extLst>
          </p:cNvPr>
          <p:cNvGrpSpPr/>
          <p:nvPr/>
        </p:nvGrpSpPr>
        <p:grpSpPr>
          <a:xfrm>
            <a:off x="0" y="1106714"/>
            <a:ext cx="12192000" cy="4644571"/>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srgbClr>
                </a:gs>
                <a:gs pos="100000">
                  <a:srgbClr val="3E8E86">
                    <a:alpha val="60000"/>
                  </a:srgbClr>
                </a:gs>
                <a:gs pos="56000">
                  <a:srgbClr val="2B2D78">
                    <a:alpha val="6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39" name="그룹 38"/>
          <p:cNvGrpSpPr/>
          <p:nvPr/>
        </p:nvGrpSpPr>
        <p:grpSpPr>
          <a:xfrm>
            <a:off x="4606421" y="2670626"/>
            <a:ext cx="2979158" cy="1508105"/>
            <a:chOff x="4718488" y="2643003"/>
            <a:chExt cx="2979158" cy="1508105"/>
          </a:xfrm>
        </p:grpSpPr>
        <p:sp>
          <p:nvSpPr>
            <p:cNvPr id="36" name="TextBox 35"/>
            <p:cNvSpPr txBox="1"/>
            <p:nvPr/>
          </p:nvSpPr>
          <p:spPr>
            <a:xfrm>
              <a:off x="4718488" y="2643003"/>
              <a:ext cx="2979158" cy="1508105"/>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Mobile</a:t>
              </a:r>
              <a:br>
                <a:rPr lang="en-US" altLang="ko-KR" sz="3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br>
              <a:r>
                <a:rPr lang="en-US" altLang="ko-KR" sz="20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or</a:t>
              </a:r>
              <a:br>
                <a:rPr lang="en-US" altLang="ko-KR" sz="3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br>
              <a:r>
                <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PC?</a:t>
              </a:r>
            </a:p>
          </p:txBody>
        </p:sp>
        <p:sp>
          <p:nvSpPr>
            <p:cNvPr id="38" name="TextBox 37"/>
            <p:cNvSpPr txBox="1"/>
            <p:nvPr/>
          </p:nvSpPr>
          <p:spPr>
            <a:xfrm>
              <a:off x="4870865" y="3140736"/>
              <a:ext cx="2487293" cy="204864"/>
            </a:xfrm>
            <a:prstGeom prst="rect">
              <a:avLst/>
            </a:prstGeom>
            <a:noFill/>
          </p:spPr>
          <p:txBody>
            <a:bodyPr wrap="square" rtlCol="0">
              <a:spAutoFit/>
            </a:bodyPr>
            <a:lstStyle/>
            <a:p>
              <a:pPr algn="ctr">
                <a:lnSpc>
                  <a:spcPct val="110000"/>
                </a:lnSpc>
              </a:pPr>
              <a:endParaRPr lang="en-US" altLang="ko-KR" sz="700" dirty="0">
                <a:solidFill>
                  <a:schemeClr val="bg1"/>
                </a:solidFill>
                <a:ea typeface="맑은 고딕" panose="020B0503020000020004" pitchFamily="50" charset="-127"/>
                <a:cs typeface="Calibri" panose="020F0502020204030204" pitchFamily="34" charset="0"/>
              </a:endParaRPr>
            </a:p>
          </p:txBody>
        </p:sp>
      </p:grpSp>
    </p:spTree>
    <p:extLst>
      <p:ext uri="{BB962C8B-B14F-4D97-AF65-F5344CB8AC3E}">
        <p14:creationId xmlns:p14="http://schemas.microsoft.com/office/powerpoint/2010/main" val="425606012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7DFEC0-EFB8-3941-B26A-C8B7203A563F}"/>
              </a:ext>
            </a:extLst>
          </p:cNvPr>
          <p:cNvGraphicFramePr>
            <a:graphicFrameLocks noChangeAspect="1"/>
          </p:cNvGraphicFramePr>
          <p:nvPr>
            <p:custDataLst>
              <p:tags r:id="rId2"/>
            </p:custDataLst>
            <p:extLst>
              <p:ext uri="{D42A27DB-BD31-4B8C-83A1-F6EECF244321}">
                <p14:modId xmlns:p14="http://schemas.microsoft.com/office/powerpoint/2010/main" val="271200889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3921"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D67DFEC0-EFB8-3941-B26A-C8B7203A563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E5602CC2-25D3-104C-B7BE-181BE08A814A}"/>
              </a:ext>
            </a:extLst>
          </p:cNvPr>
          <p:cNvPicPr>
            <a:picLocks noChangeAspect="1"/>
          </p:cNvPicPr>
          <p:nvPr/>
        </p:nvPicPr>
        <p:blipFill>
          <a:blip r:embed="rId7"/>
          <a:stretch>
            <a:fillRect/>
          </a:stretch>
        </p:blipFill>
        <p:spPr>
          <a:xfrm>
            <a:off x="0" y="0"/>
            <a:ext cx="12192000" cy="7620000"/>
          </a:xfrm>
          <a:prstGeom prst="rect">
            <a:avLst/>
          </a:prstGeom>
        </p:spPr>
      </p:pic>
    </p:spTree>
    <p:extLst>
      <p:ext uri="{BB962C8B-B14F-4D97-AF65-F5344CB8AC3E}">
        <p14:creationId xmlns:p14="http://schemas.microsoft.com/office/powerpoint/2010/main" val="20496060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C1DCED-E5C4-AE41-A23A-4C54C8F17E13}"/>
              </a:ext>
            </a:extLst>
          </p:cNvPr>
          <p:cNvGraphicFramePr>
            <a:graphicFrameLocks noChangeAspect="1"/>
          </p:cNvGraphicFramePr>
          <p:nvPr>
            <p:custDataLst>
              <p:tags r:id="rId2"/>
            </p:custDataLst>
            <p:extLst>
              <p:ext uri="{D42A27DB-BD31-4B8C-83A1-F6EECF244321}">
                <p14:modId xmlns:p14="http://schemas.microsoft.com/office/powerpoint/2010/main" val="41773545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289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FE5280B3-46AF-4B4A-9509-7AE5B96B13CD}"/>
              </a:ext>
            </a:extLst>
          </p:cNvPr>
          <p:cNvSpPr/>
          <p:nvPr/>
        </p:nvSpPr>
        <p:spPr>
          <a:xfrm>
            <a:off x="1264355" y="1582340"/>
            <a:ext cx="9843911" cy="3693319"/>
          </a:xfrm>
          <a:prstGeom prst="rect">
            <a:avLst/>
          </a:prstGeom>
        </p:spPr>
        <p:txBody>
          <a:bodyPr wrap="square">
            <a:spAutoFit/>
          </a:bodyPr>
          <a:lstStyle/>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doctype</a:t>
            </a:r>
            <a:r>
              <a:rPr lang="en-US" dirty="0">
                <a:solidFill>
                  <a:srgbClr val="D4D4D4"/>
                </a:solidFill>
                <a:latin typeface="Calibri" panose="020F0502020204030204" pitchFamily="34" charset="0"/>
              </a:rPr>
              <a:t> </a:t>
            </a:r>
            <a:r>
              <a:rPr lang="en-US" dirty="0">
                <a:solidFill>
                  <a:srgbClr val="9CDCFE"/>
                </a:solidFill>
                <a:latin typeface="Calibri" panose="020F0502020204030204" pitchFamily="34" charset="0"/>
              </a:rPr>
              <a:t>html</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html</a:t>
            </a:r>
            <a:r>
              <a:rPr lang="en-US" dirty="0">
                <a:solidFill>
                  <a:srgbClr val="D4D4D4"/>
                </a:solidFill>
                <a:latin typeface="Calibri" panose="020F0502020204030204" pitchFamily="34" charset="0"/>
              </a:rPr>
              <a:t> </a:t>
            </a:r>
            <a:r>
              <a:rPr lang="en-US" dirty="0">
                <a:solidFill>
                  <a:srgbClr val="9CDCFE"/>
                </a:solidFill>
                <a:latin typeface="Calibri" panose="020F0502020204030204" pitchFamily="34" charset="0"/>
              </a:rPr>
              <a:t>lang</a:t>
            </a:r>
            <a:r>
              <a:rPr lang="en-US" dirty="0">
                <a:solidFill>
                  <a:srgbClr val="D4D4D4"/>
                </a:solidFill>
                <a:latin typeface="Calibri" panose="020F0502020204030204" pitchFamily="34" charset="0"/>
              </a:rPr>
              <a:t>=</a:t>
            </a:r>
            <a:r>
              <a:rPr lang="en-US" dirty="0">
                <a:solidFill>
                  <a:srgbClr val="CE9178"/>
                </a:solidFill>
                <a:latin typeface="Calibri" panose="020F0502020204030204" pitchFamily="34" charset="0"/>
              </a:rPr>
              <a:t>"</a:t>
            </a:r>
            <a:r>
              <a:rPr lang="en-US" dirty="0" err="1">
                <a:solidFill>
                  <a:srgbClr val="CE9178"/>
                </a:solidFill>
                <a:latin typeface="Calibri" panose="020F0502020204030204" pitchFamily="34" charset="0"/>
              </a:rPr>
              <a:t>en</a:t>
            </a:r>
            <a:r>
              <a:rPr lang="en-US" dirty="0">
                <a:solidFill>
                  <a:srgbClr val="CE9178"/>
                </a:solidFill>
                <a:latin typeface="Calibri" panose="020F0502020204030204" pitchFamily="34" charset="0"/>
              </a:rPr>
              <a:t>"</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head</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title</a:t>
            </a:r>
            <a:r>
              <a:rPr lang="en-US" dirty="0">
                <a:solidFill>
                  <a:srgbClr val="808080"/>
                </a:solidFill>
                <a:latin typeface="Calibri" panose="020F0502020204030204" pitchFamily="34" charset="0"/>
              </a:rPr>
              <a:t>&gt;</a:t>
            </a:r>
            <a:r>
              <a:rPr lang="en-US" dirty="0">
                <a:solidFill>
                  <a:schemeClr val="bg1"/>
                </a:solidFill>
                <a:latin typeface="Calibri" panose="020F0502020204030204" pitchFamily="34" charset="0"/>
              </a:rPr>
              <a:t>My WebApp</a:t>
            </a:r>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title</a:t>
            </a:r>
            <a:r>
              <a:rPr lang="en-US" dirty="0">
                <a:solidFill>
                  <a:srgbClr val="808080"/>
                </a:solidFill>
                <a:latin typeface="Calibri" panose="020F0502020204030204" pitchFamily="34" charset="0"/>
              </a:rPr>
              <a:t>&gt;</a:t>
            </a: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link</a:t>
            </a:r>
            <a:r>
              <a:rPr lang="en-US" dirty="0">
                <a:solidFill>
                  <a:srgbClr val="D4D4D4"/>
                </a:solidFill>
                <a:latin typeface="Calibri" panose="020F0502020204030204" pitchFamily="34" charset="0"/>
              </a:rPr>
              <a:t> </a:t>
            </a:r>
            <a:r>
              <a:rPr lang="en-US" dirty="0" err="1">
                <a:solidFill>
                  <a:srgbClr val="9CDCFE"/>
                </a:solidFill>
                <a:latin typeface="Calibri" panose="020F0502020204030204" pitchFamily="34" charset="0"/>
              </a:rPr>
              <a:t>rel</a:t>
            </a:r>
            <a:r>
              <a:rPr lang="en-US" dirty="0">
                <a:solidFill>
                  <a:srgbClr val="D4D4D4"/>
                </a:solidFill>
                <a:latin typeface="Calibri" panose="020F0502020204030204" pitchFamily="34" charset="0"/>
              </a:rPr>
              <a:t>=</a:t>
            </a:r>
            <a:r>
              <a:rPr lang="en-US" dirty="0">
                <a:solidFill>
                  <a:srgbClr val="CE9178"/>
                </a:solidFill>
                <a:latin typeface="Calibri" panose="020F0502020204030204" pitchFamily="34" charset="0"/>
              </a:rPr>
              <a:t>"manifest"</a:t>
            </a:r>
            <a:r>
              <a:rPr lang="en-US" dirty="0">
                <a:solidFill>
                  <a:srgbClr val="D4D4D4"/>
                </a:solidFill>
                <a:latin typeface="Calibri" panose="020F0502020204030204" pitchFamily="34" charset="0"/>
              </a:rPr>
              <a:t> </a:t>
            </a:r>
            <a:r>
              <a:rPr lang="en-US" dirty="0" err="1">
                <a:solidFill>
                  <a:srgbClr val="9CDCFE"/>
                </a:solidFill>
                <a:latin typeface="Calibri" panose="020F0502020204030204" pitchFamily="34" charset="0"/>
              </a:rPr>
              <a:t>href</a:t>
            </a:r>
            <a:r>
              <a:rPr lang="en-US" dirty="0">
                <a:solidFill>
                  <a:srgbClr val="D4D4D4"/>
                </a:solidFill>
                <a:latin typeface="Calibri" panose="020F0502020204030204" pitchFamily="34" charset="0"/>
              </a:rPr>
              <a:t>=</a:t>
            </a:r>
            <a:r>
              <a:rPr lang="en-US" dirty="0">
                <a:solidFill>
                  <a:srgbClr val="CE9178"/>
                </a:solidFill>
                <a:latin typeface="Calibri" panose="020F0502020204030204" pitchFamily="34" charset="0"/>
              </a:rPr>
              <a:t>"/PWA/</a:t>
            </a:r>
            <a:r>
              <a:rPr lang="en-US" dirty="0" err="1">
                <a:solidFill>
                  <a:srgbClr val="CE9178"/>
                </a:solidFill>
                <a:latin typeface="Calibri" panose="020F0502020204030204" pitchFamily="34" charset="0"/>
              </a:rPr>
              <a:t>manifest.json</a:t>
            </a:r>
            <a:r>
              <a:rPr lang="en-US" dirty="0">
                <a:solidFill>
                  <a:srgbClr val="CE9178"/>
                </a:solidFill>
                <a:latin typeface="Calibri" panose="020F0502020204030204" pitchFamily="34" charset="0"/>
              </a:rPr>
              <a:t>"</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a:p>
            <a:r>
              <a:rPr lang="en-US" dirty="0">
                <a:solidFill>
                  <a:srgbClr val="D4D4D4"/>
                </a:solidFill>
                <a:latin typeface="Calibri" panose="020F0502020204030204" pitchFamily="34" charset="0"/>
              </a:rPr>
              <a:t>.</a:t>
            </a:r>
          </a:p>
          <a:p>
            <a:r>
              <a:rPr lang="en-US" dirty="0">
                <a:solidFill>
                  <a:srgbClr val="D4D4D4"/>
                </a:solidFill>
                <a:latin typeface="Calibri" panose="020F0502020204030204" pitchFamily="34" charset="0"/>
              </a:rPr>
              <a:t>.</a:t>
            </a:r>
          </a:p>
          <a:p>
            <a:r>
              <a:rPr lang="en-US" dirty="0">
                <a:solidFill>
                  <a:srgbClr val="D4D4D4"/>
                </a:solidFill>
                <a:latin typeface="Calibri" panose="020F0502020204030204" pitchFamily="34" charset="0"/>
              </a:rPr>
              <a:t>.</a:t>
            </a: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head</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a:p>
            <a:r>
              <a:rPr lang="en-US" dirty="0">
                <a:solidFill>
                  <a:srgbClr val="D4D4D4"/>
                </a:solidFill>
                <a:latin typeface="Calibri" panose="020F0502020204030204" pitchFamily="34" charset="0"/>
              </a:rPr>
              <a:t>.</a:t>
            </a:r>
          </a:p>
          <a:p>
            <a:r>
              <a:rPr lang="en-US" dirty="0">
                <a:solidFill>
                  <a:srgbClr val="D4D4D4"/>
                </a:solidFill>
                <a:latin typeface="Calibri" panose="020F0502020204030204" pitchFamily="34" charset="0"/>
              </a:rPr>
              <a:t>.</a:t>
            </a:r>
          </a:p>
          <a:p>
            <a:r>
              <a:rPr lang="en-US" dirty="0">
                <a:solidFill>
                  <a:srgbClr val="D4D4D4"/>
                </a:solidFill>
                <a:latin typeface="Calibri" panose="020F0502020204030204" pitchFamily="34" charset="0"/>
              </a:rPr>
              <a:t>.</a:t>
            </a:r>
          </a:p>
          <a:p>
            <a:r>
              <a:rPr lang="en-US" dirty="0">
                <a:solidFill>
                  <a:srgbClr val="808080"/>
                </a:solidFill>
                <a:latin typeface="Calibri" panose="020F0502020204030204" pitchFamily="34" charset="0"/>
              </a:rPr>
              <a:t>&lt;/</a:t>
            </a:r>
            <a:r>
              <a:rPr lang="en-US" dirty="0">
                <a:solidFill>
                  <a:srgbClr val="569CD6"/>
                </a:solidFill>
                <a:latin typeface="Calibri" panose="020F0502020204030204" pitchFamily="34" charset="0"/>
              </a:rPr>
              <a:t>html</a:t>
            </a:r>
            <a:r>
              <a:rPr lang="en-US" dirty="0">
                <a:solidFill>
                  <a:srgbClr val="808080"/>
                </a:solidFill>
                <a:latin typeface="Calibri" panose="020F0502020204030204" pitchFamily="34" charset="0"/>
              </a:rPr>
              <a:t>&gt;</a:t>
            </a:r>
            <a:endParaRPr lang="en-US" dirty="0">
              <a:solidFill>
                <a:srgbClr val="D4D4D4"/>
              </a:solidFill>
              <a:latin typeface="Calibri" panose="020F0502020204030204" pitchFamily="34" charset="0"/>
            </a:endParaRPr>
          </a:p>
        </p:txBody>
      </p:sp>
    </p:spTree>
    <p:extLst>
      <p:ext uri="{BB962C8B-B14F-4D97-AF65-F5344CB8AC3E}">
        <p14:creationId xmlns:p14="http://schemas.microsoft.com/office/powerpoint/2010/main" val="3508366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xEl>
                                              <p:pRg st="4" end="4"/>
                                            </p:txEl>
                                          </p:spTgt>
                                        </p:tgtEl>
                                        <p:attrNameLst>
                                          <p:attrName>style.visibility</p:attrName>
                                        </p:attrNameLst>
                                      </p:cBhvr>
                                      <p:to>
                                        <p:strVal val="visible"/>
                                      </p:to>
                                    </p:set>
                                    <p:animEffect transition="in" filter="fade">
                                      <p:cBhvr>
                                        <p:cTn id="7" dur="500"/>
                                        <p:tgtEl>
                                          <p:spTgt spid="5">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159655673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596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86A3177E-C2B5-F144-94B3-1E370779F477}"/>
              </a:ext>
            </a:extLst>
          </p:cNvPr>
          <p:cNvPicPr>
            <a:picLocks noChangeAspect="1"/>
          </p:cNvPicPr>
          <p:nvPr/>
        </p:nvPicPr>
        <p:blipFill>
          <a:blip r:embed="rId7"/>
          <a:stretch>
            <a:fillRect/>
          </a:stretch>
        </p:blipFill>
        <p:spPr>
          <a:xfrm>
            <a:off x="4515445" y="0"/>
            <a:ext cx="3161109" cy="6858000"/>
          </a:xfrm>
          <a:prstGeom prst="rect">
            <a:avLst/>
          </a:prstGeom>
        </p:spPr>
      </p:pic>
      <p:sp>
        <p:nvSpPr>
          <p:cNvPr id="8" name="Freeform 7">
            <a:extLst>
              <a:ext uri="{FF2B5EF4-FFF2-40B4-BE49-F238E27FC236}">
                <a16:creationId xmlns:a16="http://schemas.microsoft.com/office/drawing/2014/main" id="{8C0B441D-895B-8B45-8733-DC581162150A}"/>
              </a:ext>
            </a:extLst>
          </p:cNvPr>
          <p:cNvSpPr/>
          <p:nvPr/>
        </p:nvSpPr>
        <p:spPr>
          <a:xfrm>
            <a:off x="4515444" y="0"/>
            <a:ext cx="3161110" cy="6858000"/>
          </a:xfrm>
          <a:custGeom>
            <a:avLst/>
            <a:gdLst>
              <a:gd name="connsiteX0" fmla="*/ 1580555 w 3161110"/>
              <a:gd name="connsiteY0" fmla="*/ 6153618 h 6858000"/>
              <a:gd name="connsiteX1" fmla="*/ 1328555 w 3161110"/>
              <a:gd name="connsiteY1" fmla="*/ 6405618 h 6858000"/>
              <a:gd name="connsiteX2" fmla="*/ 1580555 w 3161110"/>
              <a:gd name="connsiteY2" fmla="*/ 6657618 h 6858000"/>
              <a:gd name="connsiteX3" fmla="*/ 1832555 w 3161110"/>
              <a:gd name="connsiteY3" fmla="*/ 6405618 h 6858000"/>
              <a:gd name="connsiteX4" fmla="*/ 1580555 w 3161110"/>
              <a:gd name="connsiteY4" fmla="*/ 6153618 h 6858000"/>
              <a:gd name="connsiteX5" fmla="*/ 0 w 3161110"/>
              <a:gd name="connsiteY5" fmla="*/ 0 h 6858000"/>
              <a:gd name="connsiteX6" fmla="*/ 3161110 w 3161110"/>
              <a:gd name="connsiteY6" fmla="*/ 0 h 6858000"/>
              <a:gd name="connsiteX7" fmla="*/ 3161110 w 3161110"/>
              <a:gd name="connsiteY7" fmla="*/ 6858000 h 6858000"/>
              <a:gd name="connsiteX8" fmla="*/ 0 w 316111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1110" h="6858000">
                <a:moveTo>
                  <a:pt x="1580555" y="6153618"/>
                </a:moveTo>
                <a:cubicBezTo>
                  <a:pt x="1441379" y="6153618"/>
                  <a:pt x="1328555" y="6266442"/>
                  <a:pt x="1328555" y="6405618"/>
                </a:cubicBezTo>
                <a:cubicBezTo>
                  <a:pt x="1328555" y="6544794"/>
                  <a:pt x="1441379" y="6657618"/>
                  <a:pt x="1580555" y="6657618"/>
                </a:cubicBezTo>
                <a:cubicBezTo>
                  <a:pt x="1719731" y="6657618"/>
                  <a:pt x="1832555" y="6544794"/>
                  <a:pt x="1832555" y="6405618"/>
                </a:cubicBezTo>
                <a:cubicBezTo>
                  <a:pt x="1832555" y="6266442"/>
                  <a:pt x="1719731" y="6153618"/>
                  <a:pt x="1580555" y="6153618"/>
                </a:cubicBezTo>
                <a:close/>
                <a:moveTo>
                  <a:pt x="0" y="0"/>
                </a:moveTo>
                <a:lnTo>
                  <a:pt x="3161110" y="0"/>
                </a:lnTo>
                <a:lnTo>
                  <a:pt x="3161110" y="6858000"/>
                </a:lnTo>
                <a:lnTo>
                  <a:pt x="0" y="6858000"/>
                </a:lnTo>
                <a:close/>
              </a:path>
            </a:pathLst>
          </a:custGeom>
          <a:solidFill>
            <a:schemeClr val="tx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1064021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33890200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988"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395EC10-B4AA-B04A-BFB4-ABE119F335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A01FBF51-8CD4-234E-9FBC-219EB5417755}"/>
              </a:ext>
            </a:extLst>
          </p:cNvPr>
          <p:cNvPicPr>
            <a:picLocks noChangeAspect="1"/>
          </p:cNvPicPr>
          <p:nvPr/>
        </p:nvPicPr>
        <p:blipFill>
          <a:blip r:embed="rId7"/>
          <a:stretch>
            <a:fillRect/>
          </a:stretch>
        </p:blipFill>
        <p:spPr>
          <a:xfrm>
            <a:off x="4515446" y="0"/>
            <a:ext cx="3161109" cy="6858000"/>
          </a:xfrm>
          <a:prstGeom prst="rect">
            <a:avLst/>
          </a:prstGeom>
        </p:spPr>
      </p:pic>
      <p:sp>
        <p:nvSpPr>
          <p:cNvPr id="10" name="Freeform 9">
            <a:extLst>
              <a:ext uri="{FF2B5EF4-FFF2-40B4-BE49-F238E27FC236}">
                <a16:creationId xmlns:a16="http://schemas.microsoft.com/office/drawing/2014/main" id="{6305C030-9E6C-8747-B029-7FF4DFC814C9}"/>
              </a:ext>
            </a:extLst>
          </p:cNvPr>
          <p:cNvSpPr/>
          <p:nvPr/>
        </p:nvSpPr>
        <p:spPr>
          <a:xfrm>
            <a:off x="4515445" y="0"/>
            <a:ext cx="3161110" cy="6858000"/>
          </a:xfrm>
          <a:custGeom>
            <a:avLst/>
            <a:gdLst>
              <a:gd name="connsiteX0" fmla="*/ 152109 w 3161110"/>
              <a:gd name="connsiteY0" fmla="*/ 3962400 h 6858000"/>
              <a:gd name="connsiteX1" fmla="*/ 78327 w 3161110"/>
              <a:gd name="connsiteY1" fmla="*/ 4036182 h 6858000"/>
              <a:gd name="connsiteX2" fmla="*/ 78327 w 3161110"/>
              <a:gd name="connsiteY2" fmla="*/ 4331304 h 6858000"/>
              <a:gd name="connsiteX3" fmla="*/ 152109 w 3161110"/>
              <a:gd name="connsiteY3" fmla="*/ 4405086 h 6858000"/>
              <a:gd name="connsiteX4" fmla="*/ 3009002 w 3161110"/>
              <a:gd name="connsiteY4" fmla="*/ 4405086 h 6858000"/>
              <a:gd name="connsiteX5" fmla="*/ 3082784 w 3161110"/>
              <a:gd name="connsiteY5" fmla="*/ 4331304 h 6858000"/>
              <a:gd name="connsiteX6" fmla="*/ 3082784 w 3161110"/>
              <a:gd name="connsiteY6" fmla="*/ 4036182 h 6858000"/>
              <a:gd name="connsiteX7" fmla="*/ 3009002 w 3161110"/>
              <a:gd name="connsiteY7" fmla="*/ 3962400 h 6858000"/>
              <a:gd name="connsiteX8" fmla="*/ 0 w 3161110"/>
              <a:gd name="connsiteY8" fmla="*/ 0 h 6858000"/>
              <a:gd name="connsiteX9" fmla="*/ 3161110 w 3161110"/>
              <a:gd name="connsiteY9" fmla="*/ 0 h 6858000"/>
              <a:gd name="connsiteX10" fmla="*/ 3161110 w 3161110"/>
              <a:gd name="connsiteY10" fmla="*/ 6858000 h 6858000"/>
              <a:gd name="connsiteX11" fmla="*/ 0 w 316111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61110" h="6858000">
                <a:moveTo>
                  <a:pt x="152109" y="3962400"/>
                </a:moveTo>
                <a:cubicBezTo>
                  <a:pt x="111360" y="3962400"/>
                  <a:pt x="78327" y="3995433"/>
                  <a:pt x="78327" y="4036182"/>
                </a:cubicBezTo>
                <a:lnTo>
                  <a:pt x="78327" y="4331304"/>
                </a:lnTo>
                <a:cubicBezTo>
                  <a:pt x="78327" y="4372053"/>
                  <a:pt x="111360" y="4405086"/>
                  <a:pt x="152109" y="4405086"/>
                </a:cubicBezTo>
                <a:lnTo>
                  <a:pt x="3009002" y="4405086"/>
                </a:lnTo>
                <a:cubicBezTo>
                  <a:pt x="3049751" y="4405086"/>
                  <a:pt x="3082784" y="4372053"/>
                  <a:pt x="3082784" y="4331304"/>
                </a:cubicBezTo>
                <a:lnTo>
                  <a:pt x="3082784" y="4036182"/>
                </a:lnTo>
                <a:cubicBezTo>
                  <a:pt x="3082784" y="3995433"/>
                  <a:pt x="3049751" y="3962400"/>
                  <a:pt x="3009002" y="3962400"/>
                </a:cubicBezTo>
                <a:close/>
                <a:moveTo>
                  <a:pt x="0" y="0"/>
                </a:moveTo>
                <a:lnTo>
                  <a:pt x="3161110" y="0"/>
                </a:lnTo>
                <a:lnTo>
                  <a:pt x="3161110" y="6858000"/>
                </a:lnTo>
                <a:lnTo>
                  <a:pt x="0" y="6858000"/>
                </a:lnTo>
                <a:close/>
              </a:path>
            </a:pathLst>
          </a:custGeom>
          <a:solidFill>
            <a:schemeClr val="tx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42170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25254310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9034"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395EC10-B4AA-B04A-BFB4-ABE119F335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19E7D9F-9865-9C46-A181-EBE6965C7FF7}"/>
              </a:ext>
            </a:extLst>
          </p:cNvPr>
          <p:cNvPicPr>
            <a:picLocks noChangeAspect="1"/>
          </p:cNvPicPr>
          <p:nvPr/>
        </p:nvPicPr>
        <p:blipFill>
          <a:blip r:embed="rId7"/>
          <a:stretch>
            <a:fillRect/>
          </a:stretch>
        </p:blipFill>
        <p:spPr>
          <a:xfrm>
            <a:off x="4515446" y="0"/>
            <a:ext cx="3161109" cy="6858000"/>
          </a:xfrm>
          <a:prstGeom prst="rect">
            <a:avLst/>
          </a:prstGeom>
        </p:spPr>
      </p:pic>
      <p:sp>
        <p:nvSpPr>
          <p:cNvPr id="8" name="Freeform 7">
            <a:extLst>
              <a:ext uri="{FF2B5EF4-FFF2-40B4-BE49-F238E27FC236}">
                <a16:creationId xmlns:a16="http://schemas.microsoft.com/office/drawing/2014/main" id="{82B95084-AD02-D74B-8B8E-472FF6A1F68A}"/>
              </a:ext>
            </a:extLst>
          </p:cNvPr>
          <p:cNvSpPr/>
          <p:nvPr/>
        </p:nvSpPr>
        <p:spPr>
          <a:xfrm>
            <a:off x="4515445" y="0"/>
            <a:ext cx="3161110" cy="6858000"/>
          </a:xfrm>
          <a:custGeom>
            <a:avLst/>
            <a:gdLst>
              <a:gd name="connsiteX0" fmla="*/ 2907646 w 3161110"/>
              <a:gd name="connsiteY0" fmla="*/ 509516 h 6858000"/>
              <a:gd name="connsiteX1" fmla="*/ 2722419 w 3161110"/>
              <a:gd name="connsiteY1" fmla="*/ 694743 h 6858000"/>
              <a:gd name="connsiteX2" fmla="*/ 2907646 w 3161110"/>
              <a:gd name="connsiteY2" fmla="*/ 879970 h 6858000"/>
              <a:gd name="connsiteX3" fmla="*/ 3092873 w 3161110"/>
              <a:gd name="connsiteY3" fmla="*/ 694743 h 6858000"/>
              <a:gd name="connsiteX4" fmla="*/ 2907646 w 3161110"/>
              <a:gd name="connsiteY4" fmla="*/ 509516 h 6858000"/>
              <a:gd name="connsiteX5" fmla="*/ 0 w 3161110"/>
              <a:gd name="connsiteY5" fmla="*/ 0 h 6858000"/>
              <a:gd name="connsiteX6" fmla="*/ 3161110 w 3161110"/>
              <a:gd name="connsiteY6" fmla="*/ 0 h 6858000"/>
              <a:gd name="connsiteX7" fmla="*/ 3161110 w 3161110"/>
              <a:gd name="connsiteY7" fmla="*/ 6858000 h 6858000"/>
              <a:gd name="connsiteX8" fmla="*/ 0 w 316111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161110" h="6858000">
                <a:moveTo>
                  <a:pt x="2907646" y="509516"/>
                </a:moveTo>
                <a:cubicBezTo>
                  <a:pt x="2805348" y="509516"/>
                  <a:pt x="2722419" y="592445"/>
                  <a:pt x="2722419" y="694743"/>
                </a:cubicBezTo>
                <a:cubicBezTo>
                  <a:pt x="2722419" y="797041"/>
                  <a:pt x="2805348" y="879970"/>
                  <a:pt x="2907646" y="879970"/>
                </a:cubicBezTo>
                <a:cubicBezTo>
                  <a:pt x="3009944" y="879970"/>
                  <a:pt x="3092873" y="797041"/>
                  <a:pt x="3092873" y="694743"/>
                </a:cubicBezTo>
                <a:cubicBezTo>
                  <a:pt x="3092873" y="592445"/>
                  <a:pt x="3009944" y="509516"/>
                  <a:pt x="2907646" y="509516"/>
                </a:cubicBezTo>
                <a:close/>
                <a:moveTo>
                  <a:pt x="0" y="0"/>
                </a:moveTo>
                <a:lnTo>
                  <a:pt x="3161110" y="0"/>
                </a:lnTo>
                <a:lnTo>
                  <a:pt x="3161110" y="6858000"/>
                </a:lnTo>
                <a:lnTo>
                  <a:pt x="0" y="6858000"/>
                </a:lnTo>
                <a:close/>
              </a:path>
            </a:pathLst>
          </a:custGeom>
          <a:solidFill>
            <a:schemeClr val="tx1">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2685683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258255614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1081"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395EC10-B4AA-B04A-BFB4-ABE119F335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DEDDE4D8-9BAD-3E40-A039-03A144834EE2}"/>
              </a:ext>
            </a:extLst>
          </p:cNvPr>
          <p:cNvPicPr>
            <a:picLocks noChangeAspect="1"/>
          </p:cNvPicPr>
          <p:nvPr/>
        </p:nvPicPr>
        <p:blipFill>
          <a:blip r:embed="rId7"/>
          <a:stretch>
            <a:fillRect/>
          </a:stretch>
        </p:blipFill>
        <p:spPr>
          <a:xfrm>
            <a:off x="4515445" y="0"/>
            <a:ext cx="3161109" cy="6858000"/>
          </a:xfrm>
          <a:prstGeom prst="rect">
            <a:avLst/>
          </a:prstGeom>
        </p:spPr>
      </p:pic>
    </p:spTree>
    <p:extLst>
      <p:ext uri="{BB962C8B-B14F-4D97-AF65-F5344CB8AC3E}">
        <p14:creationId xmlns:p14="http://schemas.microsoft.com/office/powerpoint/2010/main" val="193692638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220989616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3129"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395EC10-B4AA-B04A-BFB4-ABE119F335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9D6D4BE-0F11-1648-846F-DBB5BBA0AC2E}"/>
              </a:ext>
            </a:extLst>
          </p:cNvPr>
          <p:cNvPicPr>
            <a:picLocks noChangeAspect="1"/>
          </p:cNvPicPr>
          <p:nvPr/>
        </p:nvPicPr>
        <p:blipFill>
          <a:blip r:embed="rId7"/>
          <a:stretch>
            <a:fillRect/>
          </a:stretch>
        </p:blipFill>
        <p:spPr>
          <a:xfrm>
            <a:off x="4515445" y="0"/>
            <a:ext cx="3161109" cy="6858000"/>
          </a:xfrm>
          <a:prstGeom prst="rect">
            <a:avLst/>
          </a:prstGeom>
        </p:spPr>
      </p:pic>
    </p:spTree>
    <p:extLst>
      <p:ext uri="{BB962C8B-B14F-4D97-AF65-F5344CB8AC3E}">
        <p14:creationId xmlns:p14="http://schemas.microsoft.com/office/powerpoint/2010/main" val="41004034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95EC10-B4AA-B04A-BFB4-ABE119F3355F}"/>
              </a:ext>
            </a:extLst>
          </p:cNvPr>
          <p:cNvGraphicFramePr>
            <a:graphicFrameLocks noChangeAspect="1"/>
          </p:cNvGraphicFramePr>
          <p:nvPr>
            <p:custDataLst>
              <p:tags r:id="rId2"/>
            </p:custDataLst>
            <p:extLst>
              <p:ext uri="{D42A27DB-BD31-4B8C-83A1-F6EECF244321}">
                <p14:modId xmlns:p14="http://schemas.microsoft.com/office/powerpoint/2010/main" val="416028523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5177"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A395EC10-B4AA-B04A-BFB4-ABE119F3355F}"/>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25004A7D-E442-5044-B784-BA614382B482}"/>
              </a:ext>
            </a:extLst>
          </p:cNvPr>
          <p:cNvPicPr>
            <a:picLocks noChangeAspect="1"/>
          </p:cNvPicPr>
          <p:nvPr/>
        </p:nvPicPr>
        <p:blipFill>
          <a:blip r:embed="rId7"/>
          <a:stretch>
            <a:fillRect/>
          </a:stretch>
        </p:blipFill>
        <p:spPr>
          <a:xfrm>
            <a:off x="2893325" y="0"/>
            <a:ext cx="3161109" cy="6858000"/>
          </a:xfrm>
          <a:prstGeom prst="rect">
            <a:avLst/>
          </a:prstGeom>
        </p:spPr>
      </p:pic>
      <p:pic>
        <p:nvPicPr>
          <p:cNvPr id="5" name="Picture 4">
            <a:extLst>
              <a:ext uri="{FF2B5EF4-FFF2-40B4-BE49-F238E27FC236}">
                <a16:creationId xmlns:a16="http://schemas.microsoft.com/office/drawing/2014/main" id="{F9D6D4BE-0F11-1648-846F-DBB5BBA0AC2E}"/>
              </a:ext>
            </a:extLst>
          </p:cNvPr>
          <p:cNvPicPr>
            <a:picLocks noChangeAspect="1"/>
          </p:cNvPicPr>
          <p:nvPr/>
        </p:nvPicPr>
        <p:blipFill>
          <a:blip r:embed="rId8"/>
          <a:stretch>
            <a:fillRect/>
          </a:stretch>
        </p:blipFill>
        <p:spPr>
          <a:xfrm>
            <a:off x="6137565" y="0"/>
            <a:ext cx="3161109" cy="6858000"/>
          </a:xfrm>
          <a:prstGeom prst="rect">
            <a:avLst/>
          </a:prstGeom>
        </p:spPr>
      </p:pic>
    </p:spTree>
    <p:extLst>
      <p:ext uri="{BB962C8B-B14F-4D97-AF65-F5344CB8AC3E}">
        <p14:creationId xmlns:p14="http://schemas.microsoft.com/office/powerpoint/2010/main" val="55316868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9EFDC92-50E4-B04E-92EE-676045F8B280}"/>
              </a:ext>
            </a:extLst>
          </p:cNvPr>
          <p:cNvGraphicFramePr>
            <a:graphicFrameLocks noChangeAspect="1"/>
          </p:cNvGraphicFramePr>
          <p:nvPr>
            <p:custDataLst>
              <p:tags r:id="rId2"/>
            </p:custDataLst>
            <p:extLst>
              <p:ext uri="{D42A27DB-BD31-4B8C-83A1-F6EECF244321}">
                <p14:modId xmlns:p14="http://schemas.microsoft.com/office/powerpoint/2010/main" val="95830183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7220"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E9EFDC92-50E4-B04E-92EE-676045F8B28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15" name="Freeform 15">
            <a:extLst>
              <a:ext uri="{FF2B5EF4-FFF2-40B4-BE49-F238E27FC236}">
                <a16:creationId xmlns:a16="http://schemas.microsoft.com/office/drawing/2014/main" id="{8250AD98-E03E-45F3-86D7-FCF0CF9605BE}"/>
              </a:ext>
            </a:extLst>
          </p:cNvPr>
          <p:cNvSpPr>
            <a:spLocks/>
          </p:cNvSpPr>
          <p:nvPr/>
        </p:nvSpPr>
        <p:spPr bwMode="auto">
          <a:xfrm>
            <a:off x="6501645" y="3001022"/>
            <a:ext cx="1197751" cy="1199346"/>
          </a:xfrm>
          <a:custGeom>
            <a:avLst/>
            <a:gdLst>
              <a:gd name="T0" fmla="*/ 1561 w 2378"/>
              <a:gd name="T1" fmla="*/ 206 h 2379"/>
              <a:gd name="T2" fmla="*/ 205 w 2378"/>
              <a:gd name="T3" fmla="*/ 818 h 2379"/>
              <a:gd name="T4" fmla="*/ 817 w 2378"/>
              <a:gd name="T5" fmla="*/ 2173 h 2379"/>
              <a:gd name="T6" fmla="*/ 2173 w 2378"/>
              <a:gd name="T7" fmla="*/ 1561 h 2379"/>
              <a:gd name="T8" fmla="*/ 1561 w 2378"/>
              <a:gd name="T9" fmla="*/ 206 h 2379"/>
            </a:gdLst>
            <a:ahLst/>
            <a:cxnLst>
              <a:cxn ang="0">
                <a:pos x="T0" y="T1"/>
              </a:cxn>
              <a:cxn ang="0">
                <a:pos x="T2" y="T3"/>
              </a:cxn>
              <a:cxn ang="0">
                <a:pos x="T4" y="T5"/>
              </a:cxn>
              <a:cxn ang="0">
                <a:pos x="T6" y="T7"/>
              </a:cxn>
              <a:cxn ang="0">
                <a:pos x="T8" y="T9"/>
              </a:cxn>
            </a:cxnLst>
            <a:rect l="0" t="0" r="r" b="b"/>
            <a:pathLst>
              <a:path w="2378" h="2379">
                <a:moveTo>
                  <a:pt x="1561" y="206"/>
                </a:moveTo>
                <a:cubicBezTo>
                  <a:pt x="1018" y="0"/>
                  <a:pt x="411" y="274"/>
                  <a:pt x="205" y="818"/>
                </a:cubicBezTo>
                <a:cubicBezTo>
                  <a:pt x="0" y="1361"/>
                  <a:pt x="274" y="1968"/>
                  <a:pt x="817" y="2173"/>
                </a:cubicBezTo>
                <a:cubicBezTo>
                  <a:pt x="1361" y="2379"/>
                  <a:pt x="1968" y="2105"/>
                  <a:pt x="2173" y="1561"/>
                </a:cubicBezTo>
                <a:cubicBezTo>
                  <a:pt x="2378" y="1018"/>
                  <a:pt x="2104" y="411"/>
                  <a:pt x="1561" y="20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ltLang="ko-KR" dirty="0">
              <a:solidFill>
                <a:schemeClr val="lt1"/>
              </a:solidFill>
            </a:endParaRPr>
          </a:p>
        </p:txBody>
      </p:sp>
      <p:sp>
        <p:nvSpPr>
          <p:cNvPr id="4" name="Freeform 4">
            <a:extLst>
              <a:ext uri="{FF2B5EF4-FFF2-40B4-BE49-F238E27FC236}">
                <a16:creationId xmlns:a16="http://schemas.microsoft.com/office/drawing/2014/main" id="{5B8F1811-4F23-4154-B85A-67BCA89C6796}"/>
              </a:ext>
            </a:extLst>
          </p:cNvPr>
          <p:cNvSpPr>
            <a:spLocks/>
          </p:cNvSpPr>
          <p:nvPr/>
        </p:nvSpPr>
        <p:spPr bwMode="auto">
          <a:xfrm>
            <a:off x="5753841" y="2240990"/>
            <a:ext cx="1826295" cy="1009926"/>
          </a:xfrm>
          <a:custGeom>
            <a:avLst/>
            <a:gdLst>
              <a:gd name="T0" fmla="*/ 3639 w 3701"/>
              <a:gd name="T1" fmla="*/ 221 h 2045"/>
              <a:gd name="T2" fmla="*/ 2848 w 3701"/>
              <a:gd name="T3" fmla="*/ 58 h 2045"/>
              <a:gd name="T4" fmla="*/ 239 w 3701"/>
              <a:gd name="T5" fmla="*/ 1739 h 2045"/>
              <a:gd name="T6" fmla="*/ 162 w 3701"/>
              <a:gd name="T7" fmla="*/ 1580 h 2045"/>
              <a:gd name="T8" fmla="*/ 56 w 3701"/>
              <a:gd name="T9" fmla="*/ 1544 h 2045"/>
              <a:gd name="T10" fmla="*/ 19 w 3701"/>
              <a:gd name="T11" fmla="*/ 1650 h 2045"/>
              <a:gd name="T12" fmla="*/ 212 w 3701"/>
              <a:gd name="T13" fmla="*/ 2045 h 2045"/>
              <a:gd name="T14" fmla="*/ 642 w 3701"/>
              <a:gd name="T15" fmla="*/ 1875 h 2045"/>
              <a:gd name="T16" fmla="*/ 687 w 3701"/>
              <a:gd name="T17" fmla="*/ 1772 h 2045"/>
              <a:gd name="T18" fmla="*/ 583 w 3701"/>
              <a:gd name="T19" fmla="*/ 1727 h 2045"/>
              <a:gd name="T20" fmla="*/ 384 w 3701"/>
              <a:gd name="T21" fmla="*/ 1806 h 2045"/>
              <a:gd name="T22" fmla="*/ 2840 w 3701"/>
              <a:gd name="T23" fmla="*/ 217 h 2045"/>
              <a:gd name="T24" fmla="*/ 3584 w 3701"/>
              <a:gd name="T25" fmla="*/ 370 h 2045"/>
              <a:gd name="T26" fmla="*/ 3686 w 3701"/>
              <a:gd name="T27" fmla="*/ 323 h 2045"/>
              <a:gd name="T28" fmla="*/ 3639 w 3701"/>
              <a:gd name="T29" fmla="*/ 221 h 2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701" h="2045">
                <a:moveTo>
                  <a:pt x="3639" y="221"/>
                </a:moveTo>
                <a:cubicBezTo>
                  <a:pt x="3386" y="127"/>
                  <a:pt x="3120" y="72"/>
                  <a:pt x="2848" y="58"/>
                </a:cubicBezTo>
                <a:cubicBezTo>
                  <a:pt x="1700" y="0"/>
                  <a:pt x="654" y="684"/>
                  <a:pt x="239" y="1739"/>
                </a:cubicBezTo>
                <a:lnTo>
                  <a:pt x="162" y="1580"/>
                </a:lnTo>
                <a:cubicBezTo>
                  <a:pt x="143" y="1541"/>
                  <a:pt x="95" y="1524"/>
                  <a:pt x="56" y="1544"/>
                </a:cubicBezTo>
                <a:cubicBezTo>
                  <a:pt x="16" y="1563"/>
                  <a:pt x="0" y="1611"/>
                  <a:pt x="19" y="1650"/>
                </a:cubicBezTo>
                <a:lnTo>
                  <a:pt x="212" y="2045"/>
                </a:lnTo>
                <a:lnTo>
                  <a:pt x="642" y="1875"/>
                </a:lnTo>
                <a:cubicBezTo>
                  <a:pt x="683" y="1859"/>
                  <a:pt x="703" y="1813"/>
                  <a:pt x="687" y="1772"/>
                </a:cubicBezTo>
                <a:cubicBezTo>
                  <a:pt x="671" y="1731"/>
                  <a:pt x="624" y="1711"/>
                  <a:pt x="583" y="1727"/>
                </a:cubicBezTo>
                <a:lnTo>
                  <a:pt x="384" y="1806"/>
                </a:lnTo>
                <a:cubicBezTo>
                  <a:pt x="772" y="809"/>
                  <a:pt x="1758" y="163"/>
                  <a:pt x="2840" y="217"/>
                </a:cubicBezTo>
                <a:cubicBezTo>
                  <a:pt x="3095" y="230"/>
                  <a:pt x="3346" y="281"/>
                  <a:pt x="3584" y="370"/>
                </a:cubicBezTo>
                <a:cubicBezTo>
                  <a:pt x="3625" y="385"/>
                  <a:pt x="3671" y="364"/>
                  <a:pt x="3686" y="323"/>
                </a:cubicBezTo>
                <a:cubicBezTo>
                  <a:pt x="3701" y="282"/>
                  <a:pt x="3680" y="236"/>
                  <a:pt x="3639" y="221"/>
                </a:cubicBez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5" name="Freeform 5">
            <a:extLst>
              <a:ext uri="{FF2B5EF4-FFF2-40B4-BE49-F238E27FC236}">
                <a16:creationId xmlns:a16="http://schemas.microsoft.com/office/drawing/2014/main" id="{D5057787-361D-4E7D-91F9-40F21BFD8080}"/>
              </a:ext>
            </a:extLst>
          </p:cNvPr>
          <p:cNvSpPr>
            <a:spLocks/>
          </p:cNvSpPr>
          <p:nvPr/>
        </p:nvSpPr>
        <p:spPr bwMode="auto">
          <a:xfrm>
            <a:off x="5710134" y="3385155"/>
            <a:ext cx="1770100" cy="1642105"/>
          </a:xfrm>
          <a:custGeom>
            <a:avLst/>
            <a:gdLst>
              <a:gd name="T0" fmla="*/ 3225 w 3587"/>
              <a:gd name="T1" fmla="*/ 2641 h 3327"/>
              <a:gd name="T2" fmla="*/ 3114 w 3587"/>
              <a:gd name="T3" fmla="*/ 2662 h 3327"/>
              <a:gd name="T4" fmla="*/ 3134 w 3587"/>
              <a:gd name="T5" fmla="*/ 2772 h 3327"/>
              <a:gd name="T6" fmla="*/ 3277 w 3587"/>
              <a:gd name="T7" fmla="*/ 2871 h 3327"/>
              <a:gd name="T8" fmla="*/ 2507 w 3587"/>
              <a:gd name="T9" fmla="*/ 2892 h 3327"/>
              <a:gd name="T10" fmla="*/ 345 w 3587"/>
              <a:gd name="T11" fmla="*/ 94 h 3327"/>
              <a:gd name="T12" fmla="*/ 276 w 3587"/>
              <a:gd name="T13" fmla="*/ 5 h 3327"/>
              <a:gd name="T14" fmla="*/ 187 w 3587"/>
              <a:gd name="T15" fmla="*/ 74 h 3327"/>
              <a:gd name="T16" fmla="*/ 2487 w 3587"/>
              <a:gd name="T17" fmla="*/ 3050 h 3327"/>
              <a:gd name="T18" fmla="*/ 3316 w 3587"/>
              <a:gd name="T19" fmla="*/ 3026 h 3327"/>
              <a:gd name="T20" fmla="*/ 3206 w 3587"/>
              <a:gd name="T21" fmla="*/ 3203 h 3327"/>
              <a:gd name="T22" fmla="*/ 3232 w 3587"/>
              <a:gd name="T23" fmla="*/ 3312 h 3327"/>
              <a:gd name="T24" fmla="*/ 3264 w 3587"/>
              <a:gd name="T25" fmla="*/ 3324 h 3327"/>
              <a:gd name="T26" fmla="*/ 3341 w 3587"/>
              <a:gd name="T27" fmla="*/ 3286 h 3327"/>
              <a:gd name="T28" fmla="*/ 3587 w 3587"/>
              <a:gd name="T29" fmla="*/ 2891 h 3327"/>
              <a:gd name="T30" fmla="*/ 3225 w 3587"/>
              <a:gd name="T31" fmla="*/ 2641 h 3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587" h="3327">
                <a:moveTo>
                  <a:pt x="3225" y="2641"/>
                </a:moveTo>
                <a:cubicBezTo>
                  <a:pt x="3188" y="2616"/>
                  <a:pt x="3139" y="2625"/>
                  <a:pt x="3114" y="2662"/>
                </a:cubicBezTo>
                <a:cubicBezTo>
                  <a:pt x="3089" y="2698"/>
                  <a:pt x="3098" y="2747"/>
                  <a:pt x="3134" y="2772"/>
                </a:cubicBezTo>
                <a:lnTo>
                  <a:pt x="3277" y="2871"/>
                </a:lnTo>
                <a:cubicBezTo>
                  <a:pt x="3024" y="2918"/>
                  <a:pt x="2766" y="2925"/>
                  <a:pt x="2507" y="2892"/>
                </a:cubicBezTo>
                <a:cubicBezTo>
                  <a:pt x="1140" y="2717"/>
                  <a:pt x="170" y="1462"/>
                  <a:pt x="345" y="94"/>
                </a:cubicBezTo>
                <a:cubicBezTo>
                  <a:pt x="350" y="51"/>
                  <a:pt x="319" y="11"/>
                  <a:pt x="276" y="5"/>
                </a:cubicBezTo>
                <a:cubicBezTo>
                  <a:pt x="232" y="0"/>
                  <a:pt x="192" y="30"/>
                  <a:pt x="187" y="74"/>
                </a:cubicBezTo>
                <a:cubicBezTo>
                  <a:pt x="0" y="1529"/>
                  <a:pt x="1032" y="2864"/>
                  <a:pt x="2487" y="3050"/>
                </a:cubicBezTo>
                <a:cubicBezTo>
                  <a:pt x="2765" y="3086"/>
                  <a:pt x="3043" y="3077"/>
                  <a:pt x="3316" y="3026"/>
                </a:cubicBezTo>
                <a:lnTo>
                  <a:pt x="3206" y="3203"/>
                </a:lnTo>
                <a:cubicBezTo>
                  <a:pt x="3183" y="3240"/>
                  <a:pt x="3194" y="3289"/>
                  <a:pt x="3232" y="3312"/>
                </a:cubicBezTo>
                <a:cubicBezTo>
                  <a:pt x="3242" y="3318"/>
                  <a:pt x="3253" y="3322"/>
                  <a:pt x="3264" y="3324"/>
                </a:cubicBezTo>
                <a:cubicBezTo>
                  <a:pt x="3294" y="3327"/>
                  <a:pt x="3325" y="3314"/>
                  <a:pt x="3341" y="3286"/>
                </a:cubicBezTo>
                <a:lnTo>
                  <a:pt x="3587" y="2891"/>
                </a:lnTo>
                <a:lnTo>
                  <a:pt x="3225" y="2641"/>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6" name="Freeform 6">
            <a:extLst>
              <a:ext uri="{FF2B5EF4-FFF2-40B4-BE49-F238E27FC236}">
                <a16:creationId xmlns:a16="http://schemas.microsoft.com/office/drawing/2014/main" id="{4D90E888-254C-437C-8EA6-64B5A8F58E40}"/>
              </a:ext>
            </a:extLst>
          </p:cNvPr>
          <p:cNvSpPr>
            <a:spLocks/>
          </p:cNvSpPr>
          <p:nvPr/>
        </p:nvSpPr>
        <p:spPr bwMode="auto">
          <a:xfrm>
            <a:off x="7676914" y="2607810"/>
            <a:ext cx="777346" cy="2132238"/>
          </a:xfrm>
          <a:custGeom>
            <a:avLst/>
            <a:gdLst>
              <a:gd name="T0" fmla="*/ 790 w 1575"/>
              <a:gd name="T1" fmla="*/ 182 h 4321"/>
              <a:gd name="T2" fmla="*/ 965 w 1575"/>
              <a:gd name="T3" fmla="*/ 196 h 4321"/>
              <a:gd name="T4" fmla="*/ 1050 w 1575"/>
              <a:gd name="T5" fmla="*/ 122 h 4321"/>
              <a:gd name="T6" fmla="*/ 977 w 1575"/>
              <a:gd name="T7" fmla="*/ 36 h 4321"/>
              <a:gd name="T8" fmla="*/ 513 w 1575"/>
              <a:gd name="T9" fmla="*/ 0 h 4321"/>
              <a:gd name="T10" fmla="*/ 458 w 1575"/>
              <a:gd name="T11" fmla="*/ 438 h 4321"/>
              <a:gd name="T12" fmla="*/ 528 w 1575"/>
              <a:gd name="T13" fmla="*/ 526 h 4321"/>
              <a:gd name="T14" fmla="*/ 528 w 1575"/>
              <a:gd name="T15" fmla="*/ 526 h 4321"/>
              <a:gd name="T16" fmla="*/ 616 w 1575"/>
              <a:gd name="T17" fmla="*/ 458 h 4321"/>
              <a:gd name="T18" fmla="*/ 642 w 1575"/>
              <a:gd name="T19" fmla="*/ 257 h 4321"/>
              <a:gd name="T20" fmla="*/ 1317 w 1575"/>
              <a:gd name="T21" fmla="*/ 2304 h 4321"/>
              <a:gd name="T22" fmla="*/ 53 w 1575"/>
              <a:gd name="T23" fmla="*/ 4171 h 4321"/>
              <a:gd name="T24" fmla="*/ 22 w 1575"/>
              <a:gd name="T25" fmla="*/ 4279 h 4321"/>
              <a:gd name="T26" fmla="*/ 81 w 1575"/>
              <a:gd name="T27" fmla="*/ 4319 h 4321"/>
              <a:gd name="T28" fmla="*/ 130 w 1575"/>
              <a:gd name="T29" fmla="*/ 4310 h 4321"/>
              <a:gd name="T30" fmla="*/ 1475 w 1575"/>
              <a:gd name="T31" fmla="*/ 2324 h 4321"/>
              <a:gd name="T32" fmla="*/ 790 w 1575"/>
              <a:gd name="T33" fmla="*/ 182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75" h="4321">
                <a:moveTo>
                  <a:pt x="790" y="182"/>
                </a:moveTo>
                <a:lnTo>
                  <a:pt x="965" y="196"/>
                </a:lnTo>
                <a:cubicBezTo>
                  <a:pt x="1009" y="199"/>
                  <a:pt x="1047" y="166"/>
                  <a:pt x="1050" y="122"/>
                </a:cubicBezTo>
                <a:cubicBezTo>
                  <a:pt x="1054" y="78"/>
                  <a:pt x="1021" y="40"/>
                  <a:pt x="977" y="36"/>
                </a:cubicBezTo>
                <a:lnTo>
                  <a:pt x="513" y="0"/>
                </a:lnTo>
                <a:lnTo>
                  <a:pt x="458" y="438"/>
                </a:lnTo>
                <a:cubicBezTo>
                  <a:pt x="453" y="481"/>
                  <a:pt x="484" y="510"/>
                  <a:pt x="528" y="526"/>
                </a:cubicBezTo>
                <a:lnTo>
                  <a:pt x="528" y="526"/>
                </a:lnTo>
                <a:cubicBezTo>
                  <a:pt x="571" y="526"/>
                  <a:pt x="611" y="501"/>
                  <a:pt x="616" y="458"/>
                </a:cubicBezTo>
                <a:lnTo>
                  <a:pt x="642" y="257"/>
                </a:lnTo>
                <a:cubicBezTo>
                  <a:pt x="1162" y="801"/>
                  <a:pt x="1413" y="1555"/>
                  <a:pt x="1317" y="2304"/>
                </a:cubicBezTo>
                <a:cubicBezTo>
                  <a:pt x="1217" y="3088"/>
                  <a:pt x="744" y="3786"/>
                  <a:pt x="53" y="4171"/>
                </a:cubicBezTo>
                <a:cubicBezTo>
                  <a:pt x="14" y="4192"/>
                  <a:pt x="0" y="4241"/>
                  <a:pt x="22" y="4279"/>
                </a:cubicBezTo>
                <a:cubicBezTo>
                  <a:pt x="35" y="4302"/>
                  <a:pt x="57" y="4316"/>
                  <a:pt x="81" y="4319"/>
                </a:cubicBezTo>
                <a:cubicBezTo>
                  <a:pt x="98" y="4321"/>
                  <a:pt x="115" y="4318"/>
                  <a:pt x="130" y="4310"/>
                </a:cubicBezTo>
                <a:cubicBezTo>
                  <a:pt x="866" y="3900"/>
                  <a:pt x="1368" y="3158"/>
                  <a:pt x="1475" y="2324"/>
                </a:cubicBezTo>
                <a:cubicBezTo>
                  <a:pt x="1575" y="1544"/>
                  <a:pt x="1321" y="757"/>
                  <a:pt x="790" y="182"/>
                </a:cubicBezTo>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7" name="Freeform 7">
            <a:extLst>
              <a:ext uri="{FF2B5EF4-FFF2-40B4-BE49-F238E27FC236}">
                <a16:creationId xmlns:a16="http://schemas.microsoft.com/office/drawing/2014/main" id="{5B369C3B-B468-4E2B-92B4-99B370660CC2}"/>
              </a:ext>
            </a:extLst>
          </p:cNvPr>
          <p:cNvSpPr>
            <a:spLocks/>
          </p:cNvSpPr>
          <p:nvPr/>
        </p:nvSpPr>
        <p:spPr bwMode="auto">
          <a:xfrm>
            <a:off x="7199267" y="2130163"/>
            <a:ext cx="526034" cy="526035"/>
          </a:xfrm>
          <a:custGeom>
            <a:avLst/>
            <a:gdLst>
              <a:gd name="T0" fmla="*/ 1050 w 1065"/>
              <a:gd name="T1" fmla="*/ 558 h 1065"/>
              <a:gd name="T2" fmla="*/ 506 w 1065"/>
              <a:gd name="T3" fmla="*/ 1050 h 1065"/>
              <a:gd name="T4" fmla="*/ 14 w 1065"/>
              <a:gd name="T5" fmla="*/ 506 h 1065"/>
              <a:gd name="T6" fmla="*/ 558 w 1065"/>
              <a:gd name="T7" fmla="*/ 15 h 1065"/>
              <a:gd name="T8" fmla="*/ 1050 w 1065"/>
              <a:gd name="T9" fmla="*/ 558 h 1065"/>
            </a:gdLst>
            <a:ahLst/>
            <a:cxnLst>
              <a:cxn ang="0">
                <a:pos x="T0" y="T1"/>
              </a:cxn>
              <a:cxn ang="0">
                <a:pos x="T2" y="T3"/>
              </a:cxn>
              <a:cxn ang="0">
                <a:pos x="T4" y="T5"/>
              </a:cxn>
              <a:cxn ang="0">
                <a:pos x="T6" y="T7"/>
              </a:cxn>
              <a:cxn ang="0">
                <a:pos x="T8" y="T9"/>
              </a:cxn>
            </a:cxnLst>
            <a:rect l="0" t="0" r="r" b="b"/>
            <a:pathLst>
              <a:path w="1065" h="1065">
                <a:moveTo>
                  <a:pt x="1050" y="558"/>
                </a:moveTo>
                <a:cubicBezTo>
                  <a:pt x="1036" y="845"/>
                  <a:pt x="792" y="1065"/>
                  <a:pt x="506" y="1050"/>
                </a:cubicBezTo>
                <a:cubicBezTo>
                  <a:pt x="220" y="1036"/>
                  <a:pt x="0" y="792"/>
                  <a:pt x="14" y="506"/>
                </a:cubicBezTo>
                <a:cubicBezTo>
                  <a:pt x="29" y="220"/>
                  <a:pt x="272" y="0"/>
                  <a:pt x="558" y="15"/>
                </a:cubicBezTo>
                <a:cubicBezTo>
                  <a:pt x="844" y="29"/>
                  <a:pt x="1065" y="272"/>
                  <a:pt x="1050" y="558"/>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3</a:t>
            </a:r>
            <a:endParaRPr lang="ko-KR" altLang="en-US" dirty="0">
              <a:solidFill>
                <a:schemeClr val="bg1"/>
              </a:solidFill>
              <a:latin typeface="+mj-lt"/>
            </a:endParaRPr>
          </a:p>
        </p:txBody>
      </p:sp>
      <p:sp>
        <p:nvSpPr>
          <p:cNvPr id="8" name="Freeform 8">
            <a:extLst>
              <a:ext uri="{FF2B5EF4-FFF2-40B4-BE49-F238E27FC236}">
                <a16:creationId xmlns:a16="http://schemas.microsoft.com/office/drawing/2014/main" id="{717D4DC5-F36A-49F3-BB24-F714F684524C}"/>
              </a:ext>
            </a:extLst>
          </p:cNvPr>
          <p:cNvSpPr>
            <a:spLocks/>
          </p:cNvSpPr>
          <p:nvPr/>
        </p:nvSpPr>
        <p:spPr bwMode="auto">
          <a:xfrm>
            <a:off x="5618040" y="3355497"/>
            <a:ext cx="543206" cy="544766"/>
          </a:xfrm>
          <a:custGeom>
            <a:avLst/>
            <a:gdLst>
              <a:gd name="T0" fmla="*/ 1065 w 1101"/>
              <a:gd name="T1" fmla="*/ 617 h 1101"/>
              <a:gd name="T2" fmla="*/ 485 w 1101"/>
              <a:gd name="T3" fmla="*/ 1065 h 1101"/>
              <a:gd name="T4" fmla="*/ 36 w 1101"/>
              <a:gd name="T5" fmla="*/ 485 h 1101"/>
              <a:gd name="T6" fmla="*/ 616 w 1101"/>
              <a:gd name="T7" fmla="*/ 36 h 1101"/>
              <a:gd name="T8" fmla="*/ 1065 w 1101"/>
              <a:gd name="T9" fmla="*/ 617 h 1101"/>
            </a:gdLst>
            <a:ahLst/>
            <a:cxnLst>
              <a:cxn ang="0">
                <a:pos x="T0" y="T1"/>
              </a:cxn>
              <a:cxn ang="0">
                <a:pos x="T2" y="T3"/>
              </a:cxn>
              <a:cxn ang="0">
                <a:pos x="T4" y="T5"/>
              </a:cxn>
              <a:cxn ang="0">
                <a:pos x="T6" y="T7"/>
              </a:cxn>
              <a:cxn ang="0">
                <a:pos x="T8" y="T9"/>
              </a:cxn>
            </a:cxnLst>
            <a:rect l="0" t="0" r="r" b="b"/>
            <a:pathLst>
              <a:path w="1101" h="1101">
                <a:moveTo>
                  <a:pt x="1065" y="617"/>
                </a:moveTo>
                <a:cubicBezTo>
                  <a:pt x="1029" y="901"/>
                  <a:pt x="769" y="1101"/>
                  <a:pt x="485" y="1065"/>
                </a:cubicBezTo>
                <a:cubicBezTo>
                  <a:pt x="201" y="1029"/>
                  <a:pt x="0" y="769"/>
                  <a:pt x="36" y="485"/>
                </a:cubicBezTo>
                <a:cubicBezTo>
                  <a:pt x="73" y="201"/>
                  <a:pt x="332" y="0"/>
                  <a:pt x="616" y="36"/>
                </a:cubicBezTo>
                <a:cubicBezTo>
                  <a:pt x="901" y="73"/>
                  <a:pt x="1101" y="332"/>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a:solidFill>
                  <a:schemeClr val="bg1"/>
                </a:solidFill>
                <a:latin typeface="+mj-lt"/>
              </a:rPr>
              <a:t>1</a:t>
            </a:r>
            <a:endParaRPr lang="ko-KR" altLang="en-US">
              <a:solidFill>
                <a:schemeClr val="bg1"/>
              </a:solidFill>
              <a:latin typeface="+mj-lt"/>
            </a:endParaRPr>
          </a:p>
        </p:txBody>
      </p:sp>
      <p:sp>
        <p:nvSpPr>
          <p:cNvPr id="9" name="Freeform 9">
            <a:extLst>
              <a:ext uri="{FF2B5EF4-FFF2-40B4-BE49-F238E27FC236}">
                <a16:creationId xmlns:a16="http://schemas.microsoft.com/office/drawing/2014/main" id="{3A3A82A2-DABF-42A9-A321-BAB299E86511}"/>
              </a:ext>
            </a:extLst>
          </p:cNvPr>
          <p:cNvSpPr>
            <a:spLocks/>
          </p:cNvSpPr>
          <p:nvPr/>
        </p:nvSpPr>
        <p:spPr bwMode="auto">
          <a:xfrm>
            <a:off x="7536429" y="4331083"/>
            <a:ext cx="543206" cy="544766"/>
          </a:xfrm>
          <a:custGeom>
            <a:avLst/>
            <a:gdLst>
              <a:gd name="T0" fmla="*/ 1065 w 1102"/>
              <a:gd name="T1" fmla="*/ 617 h 1102"/>
              <a:gd name="T2" fmla="*/ 485 w 1102"/>
              <a:gd name="T3" fmla="*/ 1065 h 1102"/>
              <a:gd name="T4" fmla="*/ 36 w 1102"/>
              <a:gd name="T5" fmla="*/ 485 h 1102"/>
              <a:gd name="T6" fmla="*/ 617 w 1102"/>
              <a:gd name="T7" fmla="*/ 37 h 1102"/>
              <a:gd name="T8" fmla="*/ 1065 w 1102"/>
              <a:gd name="T9" fmla="*/ 617 h 1102"/>
            </a:gdLst>
            <a:ahLst/>
            <a:cxnLst>
              <a:cxn ang="0">
                <a:pos x="T0" y="T1"/>
              </a:cxn>
              <a:cxn ang="0">
                <a:pos x="T2" y="T3"/>
              </a:cxn>
              <a:cxn ang="0">
                <a:pos x="T4" y="T5"/>
              </a:cxn>
              <a:cxn ang="0">
                <a:pos x="T6" y="T7"/>
              </a:cxn>
              <a:cxn ang="0">
                <a:pos x="T8" y="T9"/>
              </a:cxn>
            </a:cxnLst>
            <a:rect l="0" t="0" r="r" b="b"/>
            <a:pathLst>
              <a:path w="1102" h="1102">
                <a:moveTo>
                  <a:pt x="1065" y="617"/>
                </a:moveTo>
                <a:cubicBezTo>
                  <a:pt x="1029" y="901"/>
                  <a:pt x="769" y="1102"/>
                  <a:pt x="485" y="1065"/>
                </a:cubicBezTo>
                <a:cubicBezTo>
                  <a:pt x="201" y="1029"/>
                  <a:pt x="0" y="769"/>
                  <a:pt x="36" y="485"/>
                </a:cubicBezTo>
                <a:cubicBezTo>
                  <a:pt x="73" y="201"/>
                  <a:pt x="333" y="0"/>
                  <a:pt x="617" y="37"/>
                </a:cubicBezTo>
                <a:cubicBezTo>
                  <a:pt x="901" y="73"/>
                  <a:pt x="1102" y="333"/>
                  <a:pt x="1065" y="617"/>
                </a:cubicBezTo>
                <a:close/>
              </a:path>
            </a:pathLst>
          </a:cu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2</a:t>
            </a:r>
            <a:endParaRPr lang="ko-KR" altLang="en-US" dirty="0">
              <a:solidFill>
                <a:schemeClr val="bg1"/>
              </a:solidFill>
              <a:latin typeface="+mj-lt"/>
            </a:endParaRPr>
          </a:p>
        </p:txBody>
      </p:sp>
      <p:sp>
        <p:nvSpPr>
          <p:cNvPr id="12" name="Freeform 12">
            <a:extLst>
              <a:ext uri="{FF2B5EF4-FFF2-40B4-BE49-F238E27FC236}">
                <a16:creationId xmlns:a16="http://schemas.microsoft.com/office/drawing/2014/main" id="{72E3BC7D-862D-42A5-9105-F41E6D217DE2}"/>
              </a:ext>
            </a:extLst>
          </p:cNvPr>
          <p:cNvSpPr>
            <a:spLocks/>
          </p:cNvSpPr>
          <p:nvPr/>
        </p:nvSpPr>
        <p:spPr bwMode="auto">
          <a:xfrm>
            <a:off x="7689401" y="1661882"/>
            <a:ext cx="2258673" cy="555693"/>
          </a:xfrm>
          <a:custGeom>
            <a:avLst/>
            <a:gdLst>
              <a:gd name="T0" fmla="*/ 4500 w 4578"/>
              <a:gd name="T1" fmla="*/ 315 h 1125"/>
              <a:gd name="T2" fmla="*/ 4407 w 4578"/>
              <a:gd name="T3" fmla="*/ 251 h 1125"/>
              <a:gd name="T4" fmla="*/ 4343 w 4578"/>
              <a:gd name="T5" fmla="*/ 344 h 1125"/>
              <a:gd name="T6" fmla="*/ 4370 w 4578"/>
              <a:gd name="T7" fmla="*/ 490 h 1125"/>
              <a:gd name="T8" fmla="*/ 2538 w 4578"/>
              <a:gd name="T9" fmla="*/ 0 h 1125"/>
              <a:gd name="T10" fmla="*/ 34 w 4578"/>
              <a:gd name="T11" fmla="*/ 987 h 1125"/>
              <a:gd name="T12" fmla="*/ 30 w 4578"/>
              <a:gd name="T13" fmla="*/ 1099 h 1125"/>
              <a:gd name="T14" fmla="*/ 89 w 4578"/>
              <a:gd name="T15" fmla="*/ 1125 h 1125"/>
              <a:gd name="T16" fmla="*/ 143 w 4578"/>
              <a:gd name="T17" fmla="*/ 1103 h 1125"/>
              <a:gd name="T18" fmla="*/ 2538 w 4578"/>
              <a:gd name="T19" fmla="*/ 159 h 1125"/>
              <a:gd name="T20" fmla="*/ 4298 w 4578"/>
              <a:gd name="T21" fmla="*/ 632 h 1125"/>
              <a:gd name="T22" fmla="*/ 4126 w 4578"/>
              <a:gd name="T23" fmla="*/ 668 h 1125"/>
              <a:gd name="T24" fmla="*/ 4065 w 4578"/>
              <a:gd name="T25" fmla="*/ 762 h 1125"/>
              <a:gd name="T26" fmla="*/ 4143 w 4578"/>
              <a:gd name="T27" fmla="*/ 825 h 1125"/>
              <a:gd name="T28" fmla="*/ 4159 w 4578"/>
              <a:gd name="T29" fmla="*/ 824 h 1125"/>
              <a:gd name="T30" fmla="*/ 4578 w 4578"/>
              <a:gd name="T31" fmla="*/ 736 h 1125"/>
              <a:gd name="T32" fmla="*/ 4500 w 4578"/>
              <a:gd name="T33" fmla="*/ 315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78" h="1125">
                <a:moveTo>
                  <a:pt x="4500" y="315"/>
                </a:moveTo>
                <a:cubicBezTo>
                  <a:pt x="4492" y="272"/>
                  <a:pt x="4450" y="243"/>
                  <a:pt x="4407" y="251"/>
                </a:cubicBezTo>
                <a:cubicBezTo>
                  <a:pt x="4364" y="259"/>
                  <a:pt x="4335" y="301"/>
                  <a:pt x="4343" y="344"/>
                </a:cubicBezTo>
                <a:lnTo>
                  <a:pt x="4370" y="490"/>
                </a:lnTo>
                <a:cubicBezTo>
                  <a:pt x="3815" y="169"/>
                  <a:pt x="3185" y="0"/>
                  <a:pt x="2538" y="0"/>
                </a:cubicBezTo>
                <a:cubicBezTo>
                  <a:pt x="1605" y="0"/>
                  <a:pt x="716" y="350"/>
                  <a:pt x="34" y="987"/>
                </a:cubicBezTo>
                <a:cubicBezTo>
                  <a:pt x="2" y="1017"/>
                  <a:pt x="0" y="1067"/>
                  <a:pt x="30" y="1099"/>
                </a:cubicBezTo>
                <a:cubicBezTo>
                  <a:pt x="46" y="1116"/>
                  <a:pt x="67" y="1125"/>
                  <a:pt x="89" y="1125"/>
                </a:cubicBezTo>
                <a:cubicBezTo>
                  <a:pt x="108" y="1125"/>
                  <a:pt x="128" y="1118"/>
                  <a:pt x="143" y="1103"/>
                </a:cubicBezTo>
                <a:cubicBezTo>
                  <a:pt x="795" y="494"/>
                  <a:pt x="1646" y="159"/>
                  <a:pt x="2538" y="159"/>
                </a:cubicBezTo>
                <a:cubicBezTo>
                  <a:pt x="3160" y="159"/>
                  <a:pt x="3765" y="322"/>
                  <a:pt x="4298" y="632"/>
                </a:cubicBezTo>
                <a:lnTo>
                  <a:pt x="4126" y="668"/>
                </a:lnTo>
                <a:cubicBezTo>
                  <a:pt x="4083" y="677"/>
                  <a:pt x="4056" y="719"/>
                  <a:pt x="4065" y="762"/>
                </a:cubicBezTo>
                <a:cubicBezTo>
                  <a:pt x="4073" y="800"/>
                  <a:pt x="4106" y="825"/>
                  <a:pt x="4143" y="825"/>
                </a:cubicBezTo>
                <a:cubicBezTo>
                  <a:pt x="4148" y="825"/>
                  <a:pt x="4154" y="825"/>
                  <a:pt x="4159" y="824"/>
                </a:cubicBezTo>
                <a:lnTo>
                  <a:pt x="4578" y="736"/>
                </a:lnTo>
                <a:lnTo>
                  <a:pt x="4500" y="315"/>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6" name="Freeform 16">
            <a:extLst>
              <a:ext uri="{FF2B5EF4-FFF2-40B4-BE49-F238E27FC236}">
                <a16:creationId xmlns:a16="http://schemas.microsoft.com/office/drawing/2014/main" id="{F7A8684D-97E6-4969-AD11-90AC49631160}"/>
              </a:ext>
            </a:extLst>
          </p:cNvPr>
          <p:cNvSpPr>
            <a:spLocks/>
          </p:cNvSpPr>
          <p:nvPr/>
        </p:nvSpPr>
        <p:spPr bwMode="auto">
          <a:xfrm>
            <a:off x="7334170" y="2714443"/>
            <a:ext cx="819765" cy="1527890"/>
          </a:xfrm>
          <a:custGeom>
            <a:avLst/>
            <a:gdLst>
              <a:gd name="T0" fmla="*/ 0 w 1626"/>
              <a:gd name="T1" fmla="*/ 578 h 3030"/>
              <a:gd name="T2" fmla="*/ 699 w 1626"/>
              <a:gd name="T3" fmla="*/ 2168 h 3030"/>
              <a:gd name="T4" fmla="*/ 424 w 1626"/>
              <a:gd name="T5" fmla="*/ 2599 h 3030"/>
              <a:gd name="T6" fmla="*/ 524 w 1626"/>
              <a:gd name="T7" fmla="*/ 2925 h 3030"/>
              <a:gd name="T8" fmla="*/ 848 w 1626"/>
              <a:gd name="T9" fmla="*/ 3030 h 3030"/>
              <a:gd name="T10" fmla="*/ 1265 w 1626"/>
              <a:gd name="T11" fmla="*/ 2382 h 3030"/>
              <a:gd name="T12" fmla="*/ 191 w 1626"/>
              <a:gd name="T13" fmla="*/ 2 h 3030"/>
              <a:gd name="T14" fmla="*/ 185 w 1626"/>
              <a:gd name="T15" fmla="*/ 0 h 3030"/>
              <a:gd name="T16" fmla="*/ 239 w 1626"/>
              <a:gd name="T17" fmla="*/ 349 h 3030"/>
              <a:gd name="T18" fmla="*/ 0 w 1626"/>
              <a:gd name="T19" fmla="*/ 578 h 3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26" h="3030">
                <a:moveTo>
                  <a:pt x="0" y="578"/>
                </a:moveTo>
                <a:cubicBezTo>
                  <a:pt x="626" y="828"/>
                  <a:pt x="939" y="1535"/>
                  <a:pt x="699" y="2168"/>
                </a:cubicBezTo>
                <a:cubicBezTo>
                  <a:pt x="637" y="2335"/>
                  <a:pt x="542" y="2480"/>
                  <a:pt x="424" y="2599"/>
                </a:cubicBezTo>
                <a:lnTo>
                  <a:pt x="524" y="2925"/>
                </a:lnTo>
                <a:lnTo>
                  <a:pt x="848" y="3030"/>
                </a:lnTo>
                <a:cubicBezTo>
                  <a:pt x="1026" y="2851"/>
                  <a:pt x="1170" y="2633"/>
                  <a:pt x="1265" y="2382"/>
                </a:cubicBezTo>
                <a:cubicBezTo>
                  <a:pt x="1626" y="1428"/>
                  <a:pt x="1145" y="363"/>
                  <a:pt x="191" y="2"/>
                </a:cubicBezTo>
                <a:cubicBezTo>
                  <a:pt x="189" y="2"/>
                  <a:pt x="187" y="1"/>
                  <a:pt x="185" y="0"/>
                </a:cubicBezTo>
                <a:lnTo>
                  <a:pt x="239" y="349"/>
                </a:lnTo>
                <a:lnTo>
                  <a:pt x="0" y="578"/>
                </a:ln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7" name="Freeform 17">
            <a:extLst>
              <a:ext uri="{FF2B5EF4-FFF2-40B4-BE49-F238E27FC236}">
                <a16:creationId xmlns:a16="http://schemas.microsoft.com/office/drawing/2014/main" id="{1749DCA0-40BE-4E8F-9326-090D277035C7}"/>
              </a:ext>
            </a:extLst>
          </p:cNvPr>
          <p:cNvSpPr>
            <a:spLocks/>
          </p:cNvSpPr>
          <p:nvPr/>
        </p:nvSpPr>
        <p:spPr bwMode="auto">
          <a:xfrm>
            <a:off x="6158747" y="2564524"/>
            <a:ext cx="1205725" cy="1151500"/>
          </a:xfrm>
          <a:custGeom>
            <a:avLst/>
            <a:gdLst>
              <a:gd name="T0" fmla="*/ 644 w 2393"/>
              <a:gd name="T1" fmla="*/ 2214 h 2282"/>
              <a:gd name="T2" fmla="*/ 709 w 2393"/>
              <a:gd name="T3" fmla="*/ 1586 h 2282"/>
              <a:gd name="T4" fmla="*/ 2145 w 2393"/>
              <a:gd name="T5" fmla="*/ 814 h 2282"/>
              <a:gd name="T6" fmla="*/ 2393 w 2393"/>
              <a:gd name="T7" fmla="*/ 577 h 2282"/>
              <a:gd name="T8" fmla="*/ 2341 w 2393"/>
              <a:gd name="T9" fmla="*/ 239 h 2282"/>
              <a:gd name="T10" fmla="*/ 143 w 2393"/>
              <a:gd name="T11" fmla="*/ 1372 h 2282"/>
              <a:gd name="T12" fmla="*/ 42 w 2393"/>
              <a:gd name="T13" fmla="*/ 2282 h 2282"/>
              <a:gd name="T14" fmla="*/ 316 w 2393"/>
              <a:gd name="T15" fmla="*/ 2093 h 2282"/>
              <a:gd name="T16" fmla="*/ 644 w 2393"/>
              <a:gd name="T17" fmla="*/ 2214 h 2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3" h="2282">
                <a:moveTo>
                  <a:pt x="644" y="2214"/>
                </a:moveTo>
                <a:cubicBezTo>
                  <a:pt x="612" y="2009"/>
                  <a:pt x="631" y="1793"/>
                  <a:pt x="709" y="1586"/>
                </a:cubicBezTo>
                <a:cubicBezTo>
                  <a:pt x="931" y="998"/>
                  <a:pt x="1550" y="678"/>
                  <a:pt x="2145" y="814"/>
                </a:cubicBezTo>
                <a:lnTo>
                  <a:pt x="2393" y="577"/>
                </a:lnTo>
                <a:lnTo>
                  <a:pt x="2341" y="239"/>
                </a:lnTo>
                <a:cubicBezTo>
                  <a:pt x="1437" y="0"/>
                  <a:pt x="481" y="478"/>
                  <a:pt x="143" y="1372"/>
                </a:cubicBezTo>
                <a:cubicBezTo>
                  <a:pt x="30" y="1673"/>
                  <a:pt x="0" y="1985"/>
                  <a:pt x="42" y="2282"/>
                </a:cubicBezTo>
                <a:lnTo>
                  <a:pt x="316" y="2093"/>
                </a:lnTo>
                <a:lnTo>
                  <a:pt x="644" y="2214"/>
                </a:ln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8" name="Freeform 18">
            <a:extLst>
              <a:ext uri="{FF2B5EF4-FFF2-40B4-BE49-F238E27FC236}">
                <a16:creationId xmlns:a16="http://schemas.microsoft.com/office/drawing/2014/main" id="{1371966A-FAA6-40BE-8BCC-A28737069B3C}"/>
              </a:ext>
            </a:extLst>
          </p:cNvPr>
          <p:cNvSpPr>
            <a:spLocks/>
          </p:cNvSpPr>
          <p:nvPr/>
        </p:nvSpPr>
        <p:spPr bwMode="auto">
          <a:xfrm>
            <a:off x="6197025" y="3716025"/>
            <a:ext cx="1492802" cy="862827"/>
          </a:xfrm>
          <a:custGeom>
            <a:avLst/>
            <a:gdLst>
              <a:gd name="T0" fmla="*/ 2539 w 2963"/>
              <a:gd name="T1" fmla="*/ 736 h 1712"/>
              <a:gd name="T2" fmla="*/ 1355 w 2963"/>
              <a:gd name="T3" fmla="*/ 905 h 1712"/>
              <a:gd name="T4" fmla="*/ 616 w 2963"/>
              <a:gd name="T5" fmla="*/ 134 h 1712"/>
              <a:gd name="T6" fmla="*/ 257 w 2963"/>
              <a:gd name="T7" fmla="*/ 0 h 1712"/>
              <a:gd name="T8" fmla="*/ 0 w 2963"/>
              <a:gd name="T9" fmla="*/ 178 h 1712"/>
              <a:gd name="T10" fmla="*/ 1142 w 2963"/>
              <a:gd name="T11" fmla="*/ 1470 h 1712"/>
              <a:gd name="T12" fmla="*/ 2963 w 2963"/>
              <a:gd name="T13" fmla="*/ 1172 h 1712"/>
              <a:gd name="T14" fmla="*/ 2641 w 2963"/>
              <a:gd name="T15" fmla="*/ 1067 h 1712"/>
              <a:gd name="T16" fmla="*/ 2539 w 2963"/>
              <a:gd name="T17" fmla="*/ 736 h 1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63" h="1712">
                <a:moveTo>
                  <a:pt x="2539" y="736"/>
                </a:moveTo>
                <a:cubicBezTo>
                  <a:pt x="2211" y="982"/>
                  <a:pt x="1768" y="1060"/>
                  <a:pt x="1355" y="905"/>
                </a:cubicBezTo>
                <a:cubicBezTo>
                  <a:pt x="991" y="767"/>
                  <a:pt x="730" y="476"/>
                  <a:pt x="616" y="134"/>
                </a:cubicBezTo>
                <a:lnTo>
                  <a:pt x="257" y="0"/>
                </a:lnTo>
                <a:lnTo>
                  <a:pt x="0" y="178"/>
                </a:lnTo>
                <a:cubicBezTo>
                  <a:pt x="139" y="750"/>
                  <a:pt x="549" y="1247"/>
                  <a:pt x="1142" y="1470"/>
                </a:cubicBezTo>
                <a:cubicBezTo>
                  <a:pt x="1781" y="1712"/>
                  <a:pt x="2470" y="1575"/>
                  <a:pt x="2963" y="1172"/>
                </a:cubicBezTo>
                <a:lnTo>
                  <a:pt x="2641" y="1067"/>
                </a:lnTo>
                <a:lnTo>
                  <a:pt x="2539" y="736"/>
                </a:lnTo>
              </a:path>
            </a:pathLst>
          </a:custGeom>
          <a:gradFill flip="none" rotWithShape="1">
            <a:gsLst>
              <a:gs pos="0">
                <a:srgbClr val="B34768">
                  <a:alpha val="40000"/>
                </a:srgbClr>
              </a:gs>
              <a:gs pos="100000">
                <a:srgbClr val="3E8E86">
                  <a:alpha val="65000"/>
                </a:srgbClr>
              </a:gs>
              <a:gs pos="58000">
                <a:srgbClr val="2B2D78">
                  <a:alpha val="5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45" name="직사각형 44">
            <a:extLst>
              <a:ext uri="{FF2B5EF4-FFF2-40B4-BE49-F238E27FC236}">
                <a16:creationId xmlns:a16="http://schemas.microsoft.com/office/drawing/2014/main" id="{EA059522-73C3-45A8-BB54-6908F28CB0C9}"/>
              </a:ext>
            </a:extLst>
          </p:cNvPr>
          <p:cNvSpPr/>
          <p:nvPr/>
        </p:nvSpPr>
        <p:spPr>
          <a:xfrm>
            <a:off x="766916" y="704509"/>
            <a:ext cx="10671743" cy="5401323"/>
          </a:xfrm>
          <a:prstGeom prst="rect">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19" name="Graphic 18" descr="Web design outline">
            <a:extLst>
              <a:ext uri="{FF2B5EF4-FFF2-40B4-BE49-F238E27FC236}">
                <a16:creationId xmlns:a16="http://schemas.microsoft.com/office/drawing/2014/main" id="{FEA35901-0F42-9A49-A937-A96C4360E3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779290" y="3308909"/>
            <a:ext cx="635284" cy="635284"/>
          </a:xfrm>
          <a:prstGeom prst="rect">
            <a:avLst/>
          </a:prstGeom>
        </p:spPr>
      </p:pic>
      <p:sp>
        <p:nvSpPr>
          <p:cNvPr id="26" name="제목 21">
            <a:extLst>
              <a:ext uri="{FF2B5EF4-FFF2-40B4-BE49-F238E27FC236}">
                <a16:creationId xmlns:a16="http://schemas.microsoft.com/office/drawing/2014/main" id="{3A1086A9-78BE-974C-967E-6B402B8A5650}"/>
              </a:ext>
            </a:extLst>
          </p:cNvPr>
          <p:cNvSpPr>
            <a:spLocks noGrp="1"/>
          </p:cNvSpPr>
          <p:nvPr>
            <p:ph type="title"/>
          </p:nvPr>
        </p:nvSpPr>
        <p:spPr>
          <a:xfrm>
            <a:off x="1173346" y="1190716"/>
            <a:ext cx="4929441" cy="731676"/>
          </a:xfrm>
        </p:spPr>
        <p:txBody>
          <a:bodyPr vert="horz"/>
          <a:lstStyle/>
          <a:p>
            <a:r>
              <a:rPr lang="en-US" altLang="ko-KR" dirty="0"/>
              <a:t>5 STEPS </a:t>
            </a:r>
            <a:r>
              <a:rPr lang="en-US" altLang="ko-KR"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PROCESS</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27" name="TextBox 26">
            <a:extLst>
              <a:ext uri="{FF2B5EF4-FFF2-40B4-BE49-F238E27FC236}">
                <a16:creationId xmlns:a16="http://schemas.microsoft.com/office/drawing/2014/main" id="{2A16803A-D066-DC4D-BF0E-6313096A4BBB}"/>
              </a:ext>
            </a:extLst>
          </p:cNvPr>
          <p:cNvSpPr txBox="1"/>
          <p:nvPr/>
        </p:nvSpPr>
        <p:spPr>
          <a:xfrm>
            <a:off x="1584498" y="2742463"/>
            <a:ext cx="3231270" cy="1768176"/>
          </a:xfrm>
          <a:prstGeom prst="rect">
            <a:avLst/>
          </a:prstGeom>
          <a:noFill/>
        </p:spPr>
        <p:txBody>
          <a:bodyPr wrap="square" rtlCol="0">
            <a:spAutoFit/>
          </a:bodyPr>
          <a:lstStyle/>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eed</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UI</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PA</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Manifest</a:t>
            </a:r>
          </a:p>
          <a:p>
            <a:pPr marL="228600" indent="-228600">
              <a:lnSpc>
                <a:spcPct val="110000"/>
              </a:lnSpc>
              <a:buFont typeface="+mj-lt"/>
              <a:buAutoNum type="arabicPeriod"/>
            </a:pPr>
            <a:r>
              <a:rPr lang="en-US" altLang="ko-KR" sz="2000" dirty="0">
                <a:solidFill>
                  <a:schemeClr val="bg1">
                    <a:lumMod val="95000"/>
                  </a:schemeClr>
                </a:solidFill>
                <a:ea typeface="맑은 고딕" panose="020B0503020000020004" pitchFamily="50" charset="-127"/>
                <a:cs typeface="Calibri" panose="020F0502020204030204" pitchFamily="34" charset="0"/>
              </a:rPr>
              <a:t> Service Worker</a:t>
            </a:r>
          </a:p>
        </p:txBody>
      </p:sp>
      <p:sp>
        <p:nvSpPr>
          <p:cNvPr id="23" name="Freeform 10">
            <a:extLst>
              <a:ext uri="{FF2B5EF4-FFF2-40B4-BE49-F238E27FC236}">
                <a16:creationId xmlns:a16="http://schemas.microsoft.com/office/drawing/2014/main" id="{9CF98D2A-C5F4-7142-A947-F22BFCB43B1E}"/>
              </a:ext>
            </a:extLst>
          </p:cNvPr>
          <p:cNvSpPr>
            <a:spLocks/>
          </p:cNvSpPr>
          <p:nvPr/>
        </p:nvSpPr>
        <p:spPr bwMode="auto">
          <a:xfrm>
            <a:off x="7923541" y="4713512"/>
            <a:ext cx="2285209" cy="572864"/>
          </a:xfrm>
          <a:custGeom>
            <a:avLst/>
            <a:gdLst>
              <a:gd name="T0" fmla="*/ 4601 w 4631"/>
              <a:gd name="T1" fmla="*/ 33 h 1162"/>
              <a:gd name="T2" fmla="*/ 4488 w 4631"/>
              <a:gd name="T3" fmla="*/ 31 h 1162"/>
              <a:gd name="T4" fmla="*/ 2063 w 4631"/>
              <a:gd name="T5" fmla="*/ 1002 h 1162"/>
              <a:gd name="T6" fmla="*/ 308 w 4631"/>
              <a:gd name="T7" fmla="*/ 532 h 1162"/>
              <a:gd name="T8" fmla="*/ 454 w 4631"/>
              <a:gd name="T9" fmla="*/ 496 h 1162"/>
              <a:gd name="T10" fmla="*/ 512 w 4631"/>
              <a:gd name="T11" fmla="*/ 399 h 1162"/>
              <a:gd name="T12" fmla="*/ 416 w 4631"/>
              <a:gd name="T13" fmla="*/ 341 h 1162"/>
              <a:gd name="T14" fmla="*/ 0 w 4631"/>
              <a:gd name="T15" fmla="*/ 445 h 1162"/>
              <a:gd name="T16" fmla="*/ 95 w 4631"/>
              <a:gd name="T17" fmla="*/ 863 h 1162"/>
              <a:gd name="T18" fmla="*/ 172 w 4631"/>
              <a:gd name="T19" fmla="*/ 925 h 1162"/>
              <a:gd name="T20" fmla="*/ 190 w 4631"/>
              <a:gd name="T21" fmla="*/ 923 h 1162"/>
              <a:gd name="T22" fmla="*/ 250 w 4631"/>
              <a:gd name="T23" fmla="*/ 828 h 1162"/>
              <a:gd name="T24" fmla="*/ 212 w 4631"/>
              <a:gd name="T25" fmla="*/ 661 h 1162"/>
              <a:gd name="T26" fmla="*/ 2063 w 4631"/>
              <a:gd name="T27" fmla="*/ 1162 h 1162"/>
              <a:gd name="T28" fmla="*/ 4598 w 4631"/>
              <a:gd name="T29" fmla="*/ 146 h 1162"/>
              <a:gd name="T30" fmla="*/ 4601 w 4631"/>
              <a:gd name="T31" fmla="*/ 33 h 1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31" h="1162">
                <a:moveTo>
                  <a:pt x="4601" y="33"/>
                </a:moveTo>
                <a:cubicBezTo>
                  <a:pt x="4570" y="2"/>
                  <a:pt x="4520" y="0"/>
                  <a:pt x="4488" y="31"/>
                </a:cubicBezTo>
                <a:cubicBezTo>
                  <a:pt x="3832" y="657"/>
                  <a:pt x="2971" y="1002"/>
                  <a:pt x="2063" y="1002"/>
                </a:cubicBezTo>
                <a:cubicBezTo>
                  <a:pt x="1444" y="1002"/>
                  <a:pt x="841" y="840"/>
                  <a:pt x="308" y="532"/>
                </a:cubicBezTo>
                <a:lnTo>
                  <a:pt x="454" y="496"/>
                </a:lnTo>
                <a:cubicBezTo>
                  <a:pt x="497" y="485"/>
                  <a:pt x="523" y="442"/>
                  <a:pt x="512" y="399"/>
                </a:cubicBezTo>
                <a:cubicBezTo>
                  <a:pt x="502" y="357"/>
                  <a:pt x="459" y="331"/>
                  <a:pt x="416" y="341"/>
                </a:cubicBezTo>
                <a:lnTo>
                  <a:pt x="0" y="445"/>
                </a:lnTo>
                <a:lnTo>
                  <a:pt x="95" y="863"/>
                </a:lnTo>
                <a:cubicBezTo>
                  <a:pt x="103" y="900"/>
                  <a:pt x="136" y="925"/>
                  <a:pt x="172" y="925"/>
                </a:cubicBezTo>
                <a:cubicBezTo>
                  <a:pt x="178" y="925"/>
                  <a:pt x="184" y="924"/>
                  <a:pt x="190" y="923"/>
                </a:cubicBezTo>
                <a:cubicBezTo>
                  <a:pt x="233" y="913"/>
                  <a:pt x="260" y="871"/>
                  <a:pt x="250" y="828"/>
                </a:cubicBezTo>
                <a:lnTo>
                  <a:pt x="212" y="661"/>
                </a:lnTo>
                <a:cubicBezTo>
                  <a:pt x="773" y="989"/>
                  <a:pt x="1409" y="1162"/>
                  <a:pt x="2063" y="1162"/>
                </a:cubicBezTo>
                <a:cubicBezTo>
                  <a:pt x="3012" y="1162"/>
                  <a:pt x="3912" y="801"/>
                  <a:pt x="4598" y="146"/>
                </a:cubicBezTo>
                <a:cubicBezTo>
                  <a:pt x="4630" y="116"/>
                  <a:pt x="4631" y="65"/>
                  <a:pt x="4601" y="33"/>
                </a:cubicBezTo>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24" name="Freeform 11">
            <a:extLst>
              <a:ext uri="{FF2B5EF4-FFF2-40B4-BE49-F238E27FC236}">
                <a16:creationId xmlns:a16="http://schemas.microsoft.com/office/drawing/2014/main" id="{AC959F46-797D-6E4F-8490-0A72373F762E}"/>
              </a:ext>
            </a:extLst>
          </p:cNvPr>
          <p:cNvSpPr>
            <a:spLocks/>
          </p:cNvSpPr>
          <p:nvPr/>
        </p:nvSpPr>
        <p:spPr bwMode="auto">
          <a:xfrm>
            <a:off x="10235286" y="2267525"/>
            <a:ext cx="516670" cy="2199360"/>
          </a:xfrm>
          <a:custGeom>
            <a:avLst/>
            <a:gdLst>
              <a:gd name="T0" fmla="*/ 752 w 1050"/>
              <a:gd name="T1" fmla="*/ 4210 h 4455"/>
              <a:gd name="T2" fmla="*/ 578 w 1050"/>
              <a:gd name="T3" fmla="*/ 4247 h 4455"/>
              <a:gd name="T4" fmla="*/ 1050 w 1050"/>
              <a:gd name="T5" fmla="*/ 2446 h 4455"/>
              <a:gd name="T6" fmla="*/ 149 w 1050"/>
              <a:gd name="T7" fmla="*/ 36 h 4455"/>
              <a:gd name="T8" fmla="*/ 36 w 1050"/>
              <a:gd name="T9" fmla="*/ 28 h 4455"/>
              <a:gd name="T10" fmla="*/ 29 w 1050"/>
              <a:gd name="T11" fmla="*/ 141 h 4455"/>
              <a:gd name="T12" fmla="*/ 891 w 1050"/>
              <a:gd name="T13" fmla="*/ 2446 h 4455"/>
              <a:gd name="T14" fmla="*/ 455 w 1050"/>
              <a:gd name="T15" fmla="*/ 4140 h 4455"/>
              <a:gd name="T16" fmla="*/ 422 w 1050"/>
              <a:gd name="T17" fmla="*/ 4002 h 4455"/>
              <a:gd name="T18" fmla="*/ 326 w 1050"/>
              <a:gd name="T19" fmla="*/ 3943 h 4455"/>
              <a:gd name="T20" fmla="*/ 267 w 1050"/>
              <a:gd name="T21" fmla="*/ 4038 h 4455"/>
              <a:gd name="T22" fmla="*/ 343 w 1050"/>
              <a:gd name="T23" fmla="*/ 4356 h 4455"/>
              <a:gd name="T24" fmla="*/ 350 w 1050"/>
              <a:gd name="T25" fmla="*/ 4388 h 4455"/>
              <a:gd name="T26" fmla="*/ 366 w 1050"/>
              <a:gd name="T27" fmla="*/ 4455 h 4455"/>
              <a:gd name="T28" fmla="*/ 785 w 1050"/>
              <a:gd name="T29" fmla="*/ 4365 h 4455"/>
              <a:gd name="T30" fmla="*/ 846 w 1050"/>
              <a:gd name="T31" fmla="*/ 4271 h 4455"/>
              <a:gd name="T32" fmla="*/ 752 w 1050"/>
              <a:gd name="T33" fmla="*/ 4210 h 4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50" h="4455">
                <a:moveTo>
                  <a:pt x="752" y="4210"/>
                </a:moveTo>
                <a:lnTo>
                  <a:pt x="578" y="4247"/>
                </a:lnTo>
                <a:cubicBezTo>
                  <a:pt x="887" y="3699"/>
                  <a:pt x="1050" y="3080"/>
                  <a:pt x="1050" y="2446"/>
                </a:cubicBezTo>
                <a:cubicBezTo>
                  <a:pt x="1050" y="1559"/>
                  <a:pt x="730" y="704"/>
                  <a:pt x="149" y="36"/>
                </a:cubicBezTo>
                <a:cubicBezTo>
                  <a:pt x="120" y="3"/>
                  <a:pt x="69" y="0"/>
                  <a:pt x="36" y="28"/>
                </a:cubicBezTo>
                <a:cubicBezTo>
                  <a:pt x="3" y="57"/>
                  <a:pt x="0" y="108"/>
                  <a:pt x="29" y="141"/>
                </a:cubicBezTo>
                <a:cubicBezTo>
                  <a:pt x="585" y="779"/>
                  <a:pt x="891" y="1598"/>
                  <a:pt x="891" y="2446"/>
                </a:cubicBezTo>
                <a:cubicBezTo>
                  <a:pt x="891" y="3042"/>
                  <a:pt x="740" y="3623"/>
                  <a:pt x="455" y="4140"/>
                </a:cubicBezTo>
                <a:lnTo>
                  <a:pt x="422" y="4002"/>
                </a:lnTo>
                <a:cubicBezTo>
                  <a:pt x="412" y="3959"/>
                  <a:pt x="369" y="3932"/>
                  <a:pt x="326" y="3943"/>
                </a:cubicBezTo>
                <a:cubicBezTo>
                  <a:pt x="283" y="3953"/>
                  <a:pt x="257" y="3996"/>
                  <a:pt x="267" y="4038"/>
                </a:cubicBezTo>
                <a:lnTo>
                  <a:pt x="343" y="4356"/>
                </a:lnTo>
                <a:cubicBezTo>
                  <a:pt x="343" y="4367"/>
                  <a:pt x="346" y="4378"/>
                  <a:pt x="350" y="4388"/>
                </a:cubicBezTo>
                <a:lnTo>
                  <a:pt x="366" y="4455"/>
                </a:lnTo>
                <a:lnTo>
                  <a:pt x="785" y="4365"/>
                </a:lnTo>
                <a:cubicBezTo>
                  <a:pt x="828" y="4356"/>
                  <a:pt x="855" y="4314"/>
                  <a:pt x="846" y="4271"/>
                </a:cubicBezTo>
                <a:cubicBezTo>
                  <a:pt x="837" y="4228"/>
                  <a:pt x="795" y="4200"/>
                  <a:pt x="752" y="421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25" name="Oval 13">
            <a:extLst>
              <a:ext uri="{FF2B5EF4-FFF2-40B4-BE49-F238E27FC236}">
                <a16:creationId xmlns:a16="http://schemas.microsoft.com/office/drawing/2014/main" id="{56F9297F-0D37-BF48-9055-77B6D54F826D}"/>
              </a:ext>
            </a:extLst>
          </p:cNvPr>
          <p:cNvSpPr>
            <a:spLocks noChangeArrowheads="1"/>
          </p:cNvSpPr>
          <p:nvPr/>
        </p:nvSpPr>
        <p:spPr bwMode="auto">
          <a:xfrm>
            <a:off x="9880954" y="4474688"/>
            <a:ext cx="511987" cy="511986"/>
          </a:xfrm>
          <a:prstGeom prst="ellipse">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5</a:t>
            </a:r>
            <a:endParaRPr lang="ko-KR" altLang="en-US" dirty="0">
              <a:solidFill>
                <a:schemeClr val="bg1"/>
              </a:solidFill>
              <a:latin typeface="+mj-lt"/>
            </a:endParaRPr>
          </a:p>
        </p:txBody>
      </p:sp>
      <p:sp>
        <p:nvSpPr>
          <p:cNvPr id="14" name="Oval 14">
            <a:extLst>
              <a:ext uri="{FF2B5EF4-FFF2-40B4-BE49-F238E27FC236}">
                <a16:creationId xmlns:a16="http://schemas.microsoft.com/office/drawing/2014/main" id="{C5113A14-CBBE-40C2-A375-9BBBABF9ED52}"/>
              </a:ext>
            </a:extLst>
          </p:cNvPr>
          <p:cNvSpPr>
            <a:spLocks noChangeArrowheads="1"/>
          </p:cNvSpPr>
          <p:nvPr/>
        </p:nvSpPr>
        <p:spPr bwMode="auto">
          <a:xfrm>
            <a:off x="9960562" y="2053678"/>
            <a:ext cx="510426" cy="511986"/>
          </a:xfrm>
          <a:prstGeom prst="ellipse">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a:solidFill>
                  <a:schemeClr val="bg1"/>
                </a:solidFill>
                <a:latin typeface="+mj-lt"/>
              </a:rPr>
              <a:t>4</a:t>
            </a:r>
            <a:endParaRPr lang="ko-KR" altLang="en-US" dirty="0">
              <a:solidFill>
                <a:schemeClr val="bg1"/>
              </a:solidFill>
              <a:latin typeface="+mj-lt"/>
            </a:endParaRPr>
          </a:p>
        </p:txBody>
      </p:sp>
    </p:spTree>
    <p:extLst>
      <p:ext uri="{BB962C8B-B14F-4D97-AF65-F5344CB8AC3E}">
        <p14:creationId xmlns:p14="http://schemas.microsoft.com/office/powerpoint/2010/main" val="3684356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7">
                                            <p:txEl>
                                              <p:pRg st="4" end="4"/>
                                            </p:txEl>
                                          </p:spTgt>
                                        </p:tgtEl>
                                        <p:attrNameLst>
                                          <p:attrName>style.visibility</p:attrName>
                                        </p:attrNameLst>
                                      </p:cBhvr>
                                      <p:to>
                                        <p:strVal val="visible"/>
                                      </p:to>
                                    </p:set>
                                    <p:animEffect transition="in" filter="fade">
                                      <p:cBhvr>
                                        <p:cTn id="7" dur="500"/>
                                        <p:tgtEl>
                                          <p:spTgt spid="27">
                                            <p:txEl>
                                              <p:pRg st="4" end="4"/>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4"/>
                                        </p:tgtEl>
                                        <p:attrNameLst>
                                          <p:attrName>style.visibility</p:attrName>
                                        </p:attrNameLst>
                                      </p:cBhvr>
                                      <p:to>
                                        <p:strVal val="visible"/>
                                      </p:to>
                                    </p:set>
                                    <p:animEffect transition="in" filter="fade">
                                      <p:cBhvr>
                                        <p:cTn id="12" dur="500"/>
                                        <p:tgtEl>
                                          <p:spTgt spid="2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500"/>
                                        <p:tgtEl>
                                          <p:spTgt spid="2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4" grpId="0" animBg="1"/>
      <p:bldP spid="25"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979FA7F-5C59-5D45-A03A-49CC1BB48C4A}"/>
              </a:ext>
            </a:extLst>
          </p:cNvPr>
          <p:cNvGraphicFramePr>
            <a:graphicFrameLocks noChangeAspect="1"/>
          </p:cNvGraphicFramePr>
          <p:nvPr>
            <p:custDataLst>
              <p:tags r:id="rId2"/>
            </p:custDataLst>
            <p:extLst>
              <p:ext uri="{D42A27DB-BD31-4B8C-83A1-F6EECF244321}">
                <p14:modId xmlns:p14="http://schemas.microsoft.com/office/powerpoint/2010/main" val="137843562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96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9" name="타원 68">
            <a:extLst>
              <a:ext uri="{FF2B5EF4-FFF2-40B4-BE49-F238E27FC236}">
                <a16:creationId xmlns:a16="http://schemas.microsoft.com/office/drawing/2014/main" id="{F1F8F533-05C0-41B4-95B8-CD9423D6855C}"/>
              </a:ext>
            </a:extLst>
          </p:cNvPr>
          <p:cNvSpPr/>
          <p:nvPr/>
        </p:nvSpPr>
        <p:spPr>
          <a:xfrm>
            <a:off x="4970024" y="3091575"/>
            <a:ext cx="2251952" cy="2251950"/>
          </a:xfrm>
          <a:prstGeom prst="ellipse">
            <a:avLst/>
          </a:prstGeom>
          <a:gradFill>
            <a:gsLst>
              <a:gs pos="0">
                <a:srgbClr val="B34768">
                  <a:alpha val="50000"/>
                </a:srgbClr>
              </a:gs>
              <a:gs pos="100000">
                <a:srgbClr val="3E8E86">
                  <a:alpha val="63000"/>
                </a:srgbClr>
              </a:gs>
              <a:gs pos="58000">
                <a:srgbClr val="2B2D78">
                  <a:alpha val="63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제목 1">
            <a:extLst>
              <a:ext uri="{FF2B5EF4-FFF2-40B4-BE49-F238E27FC236}">
                <a16:creationId xmlns:a16="http://schemas.microsoft.com/office/drawing/2014/main" id="{0DC4D68A-EE9F-4407-9CDF-D3D154091243}"/>
              </a:ext>
            </a:extLst>
          </p:cNvPr>
          <p:cNvSpPr>
            <a:spLocks noGrp="1"/>
          </p:cNvSpPr>
          <p:nvPr>
            <p:ph type="title"/>
          </p:nvPr>
        </p:nvSpPr>
        <p:spPr/>
        <p:txBody>
          <a:bodyPr vert="horz"/>
          <a:lstStyle/>
          <a:p>
            <a:r>
              <a:rPr lang="en-US" altLang="ko-KR" dirty="0"/>
              <a:t>ENABLMENT </a:t>
            </a:r>
            <a:r>
              <a:rPr lang="en-US" altLang="ko-KR"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rPr>
              <a:t>ADVANTAGES</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43" name="타원 42">
            <a:extLst>
              <a:ext uri="{FF2B5EF4-FFF2-40B4-BE49-F238E27FC236}">
                <a16:creationId xmlns:a16="http://schemas.microsoft.com/office/drawing/2014/main" id="{9F63EDC0-B936-41CE-A182-A244D518A8AF}"/>
              </a:ext>
            </a:extLst>
          </p:cNvPr>
          <p:cNvSpPr/>
          <p:nvPr/>
        </p:nvSpPr>
        <p:spPr>
          <a:xfrm>
            <a:off x="4075320" y="3900366"/>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2" name="자유형 21">
            <a:extLst>
              <a:ext uri="{FF2B5EF4-FFF2-40B4-BE49-F238E27FC236}">
                <a16:creationId xmlns:a16="http://schemas.microsoft.com/office/drawing/2014/main" id="{195C1B37-461A-4549-943C-C9FF5D9571D7}"/>
              </a:ext>
            </a:extLst>
          </p:cNvPr>
          <p:cNvSpPr/>
          <p:nvPr/>
        </p:nvSpPr>
        <p:spPr>
          <a:xfrm>
            <a:off x="4599419" y="2470831"/>
            <a:ext cx="1422230" cy="1082600"/>
          </a:xfrm>
          <a:custGeom>
            <a:avLst/>
            <a:gdLst>
              <a:gd name="connsiteX0" fmla="*/ 1422230 w 1422230"/>
              <a:gd name="connsiteY0" fmla="*/ 0 h 1082600"/>
              <a:gd name="connsiteX1" fmla="*/ 1422230 w 1422230"/>
              <a:gd name="connsiteY1" fmla="*/ 522457 h 1082600"/>
              <a:gd name="connsiteX2" fmla="*/ 1359630 w 1422230"/>
              <a:gd name="connsiteY2" fmla="*/ 525618 h 1082600"/>
              <a:gd name="connsiteX3" fmla="*/ 464734 w 1422230"/>
              <a:gd name="connsiteY3" fmla="*/ 1061996 h 1082600"/>
              <a:gd name="connsiteX4" fmla="*/ 452217 w 1422230"/>
              <a:gd name="connsiteY4" fmla="*/ 1082600 h 1082600"/>
              <a:gd name="connsiteX5" fmla="*/ 0 w 1422230"/>
              <a:gd name="connsiteY5" fmla="*/ 820067 h 1082600"/>
              <a:gd name="connsiteX6" fmla="*/ 60919 w 1422230"/>
              <a:gd name="connsiteY6" fmla="*/ 731031 h 1082600"/>
              <a:gd name="connsiteX7" fmla="*/ 126525 w 1422230"/>
              <a:gd name="connsiteY7" fmla="*/ 641995 h 1082600"/>
              <a:gd name="connsiteX8" fmla="*/ 196816 w 1422230"/>
              <a:gd name="connsiteY8" fmla="*/ 562332 h 1082600"/>
              <a:gd name="connsiteX9" fmla="*/ 271794 w 1422230"/>
              <a:gd name="connsiteY9" fmla="*/ 487354 h 1082600"/>
              <a:gd name="connsiteX10" fmla="*/ 346771 w 1422230"/>
              <a:gd name="connsiteY10" fmla="*/ 412377 h 1082600"/>
              <a:gd name="connsiteX11" fmla="*/ 431121 w 1422230"/>
              <a:gd name="connsiteY11" fmla="*/ 346771 h 1082600"/>
              <a:gd name="connsiteX12" fmla="*/ 515471 w 1422230"/>
              <a:gd name="connsiteY12" fmla="*/ 285852 h 1082600"/>
              <a:gd name="connsiteX13" fmla="*/ 611536 w 1422230"/>
              <a:gd name="connsiteY13" fmla="*/ 229619 h 1082600"/>
              <a:gd name="connsiteX14" fmla="*/ 700571 w 1422230"/>
              <a:gd name="connsiteY14" fmla="*/ 182758 h 1082600"/>
              <a:gd name="connsiteX15" fmla="*/ 798979 w 1422230"/>
              <a:gd name="connsiteY15" fmla="*/ 135897 h 1082600"/>
              <a:gd name="connsiteX16" fmla="*/ 897387 w 1422230"/>
              <a:gd name="connsiteY16" fmla="*/ 98408 h 1082600"/>
              <a:gd name="connsiteX17" fmla="*/ 995795 w 1422230"/>
              <a:gd name="connsiteY17" fmla="*/ 65605 h 1082600"/>
              <a:gd name="connsiteX18" fmla="*/ 1098890 w 1422230"/>
              <a:gd name="connsiteY18" fmla="*/ 42175 h 1082600"/>
              <a:gd name="connsiteX19" fmla="*/ 1206670 w 1422230"/>
              <a:gd name="connsiteY19" fmla="*/ 18745 h 1082600"/>
              <a:gd name="connsiteX20" fmla="*/ 1314450 w 1422230"/>
              <a:gd name="connsiteY20" fmla="*/ 9372 h 1082600"/>
              <a:gd name="connsiteX21" fmla="*/ 1422230 w 1422230"/>
              <a:gd name="connsiteY21" fmla="*/ 0 h 1082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230" h="1082600">
                <a:moveTo>
                  <a:pt x="1422230" y="0"/>
                </a:moveTo>
                <a:lnTo>
                  <a:pt x="1422230" y="522457"/>
                </a:lnTo>
                <a:lnTo>
                  <a:pt x="1359630" y="525618"/>
                </a:lnTo>
                <a:cubicBezTo>
                  <a:pt x="987189" y="563442"/>
                  <a:pt x="663831" y="767294"/>
                  <a:pt x="464734" y="1061996"/>
                </a:cubicBezTo>
                <a:lnTo>
                  <a:pt x="452217" y="1082600"/>
                </a:lnTo>
                <a:lnTo>
                  <a:pt x="0" y="820067"/>
                </a:lnTo>
                <a:lnTo>
                  <a:pt x="60919" y="731031"/>
                </a:lnTo>
                <a:lnTo>
                  <a:pt x="126525" y="641995"/>
                </a:lnTo>
                <a:lnTo>
                  <a:pt x="196816" y="562332"/>
                </a:lnTo>
                <a:lnTo>
                  <a:pt x="271794" y="487354"/>
                </a:lnTo>
                <a:lnTo>
                  <a:pt x="346771" y="412377"/>
                </a:lnTo>
                <a:lnTo>
                  <a:pt x="431121" y="346771"/>
                </a:lnTo>
                <a:lnTo>
                  <a:pt x="515471" y="285852"/>
                </a:lnTo>
                <a:lnTo>
                  <a:pt x="611536" y="229619"/>
                </a:lnTo>
                <a:lnTo>
                  <a:pt x="700571" y="182758"/>
                </a:lnTo>
                <a:lnTo>
                  <a:pt x="798979" y="135897"/>
                </a:lnTo>
                <a:lnTo>
                  <a:pt x="897387" y="98408"/>
                </a:lnTo>
                <a:lnTo>
                  <a:pt x="995795" y="65605"/>
                </a:lnTo>
                <a:lnTo>
                  <a:pt x="1098890" y="42175"/>
                </a:lnTo>
                <a:lnTo>
                  <a:pt x="1206670" y="18745"/>
                </a:lnTo>
                <a:lnTo>
                  <a:pt x="1314450" y="9372"/>
                </a:lnTo>
                <a:lnTo>
                  <a:pt x="1422230"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23" name="타원 22">
            <a:extLst>
              <a:ext uri="{FF2B5EF4-FFF2-40B4-BE49-F238E27FC236}">
                <a16:creationId xmlns:a16="http://schemas.microsoft.com/office/drawing/2014/main" id="{D36D8A28-4092-4E47-8924-CB745A57F1E1}"/>
              </a:ext>
            </a:extLst>
          </p:cNvPr>
          <p:cNvSpPr/>
          <p:nvPr/>
        </p:nvSpPr>
        <p:spPr>
          <a:xfrm>
            <a:off x="4891497" y="2477929"/>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4" name="Text Box 8">
            <a:extLst>
              <a:ext uri="{FF2B5EF4-FFF2-40B4-BE49-F238E27FC236}">
                <a16:creationId xmlns:a16="http://schemas.microsoft.com/office/drawing/2014/main" id="{8F758FDB-B2A5-431E-9A75-F8B7ED3970B8}"/>
              </a:ext>
            </a:extLst>
          </p:cNvPr>
          <p:cNvSpPr txBox="1">
            <a:spLocks noChangeArrowheads="1"/>
          </p:cNvSpPr>
          <p:nvPr/>
        </p:nvSpPr>
        <p:spPr bwMode="auto">
          <a:xfrm>
            <a:off x="4629267" y="2631141"/>
            <a:ext cx="1165902" cy="338554"/>
          </a:xfrm>
          <a:prstGeom prst="rect">
            <a:avLst/>
          </a:prstGeom>
          <a:noFill/>
          <a:ln w="9525">
            <a:noFill/>
            <a:miter lim="800000"/>
            <a:headEnd/>
            <a:tailEnd/>
          </a:ln>
          <a:effectLst/>
        </p:spPr>
        <p:txBody>
          <a:bodyPr wrap="square">
            <a:spAutoFit/>
          </a:bodyPr>
          <a:lstStyle/>
          <a:p>
            <a:pPr algn="ctr">
              <a:defRPr/>
            </a:pPr>
            <a:r>
              <a:rPr lang="en-US" altLang="ko-KR" sz="1600" dirty="0">
                <a:solidFill>
                  <a:schemeClr val="bg1"/>
                </a:solidFill>
                <a:latin typeface="+mj-lt"/>
                <a:ea typeface="맑은 고딕" pitchFamily="50" charset="-127"/>
              </a:rPr>
              <a:t>02</a:t>
            </a:r>
            <a:endParaRPr lang="ko-KR" altLang="ko-KR" sz="1600" dirty="0">
              <a:solidFill>
                <a:schemeClr val="bg1"/>
              </a:solidFill>
              <a:latin typeface="+mj-lt"/>
              <a:ea typeface="맑은 고딕" pitchFamily="50" charset="-127"/>
            </a:endParaRPr>
          </a:p>
        </p:txBody>
      </p:sp>
      <p:sp>
        <p:nvSpPr>
          <p:cNvPr id="26" name="자유형 20">
            <a:extLst>
              <a:ext uri="{FF2B5EF4-FFF2-40B4-BE49-F238E27FC236}">
                <a16:creationId xmlns:a16="http://schemas.microsoft.com/office/drawing/2014/main" id="{80C5A1A5-7AB0-487F-8195-9A18FFCCE0C5}"/>
              </a:ext>
            </a:extLst>
          </p:cNvPr>
          <p:cNvSpPr/>
          <p:nvPr/>
        </p:nvSpPr>
        <p:spPr>
          <a:xfrm>
            <a:off x="6148175" y="2470832"/>
            <a:ext cx="1422230" cy="1082601"/>
          </a:xfrm>
          <a:custGeom>
            <a:avLst/>
            <a:gdLst>
              <a:gd name="connsiteX0" fmla="*/ 0 w 1422230"/>
              <a:gd name="connsiteY0" fmla="*/ 0 h 1082601"/>
              <a:gd name="connsiteX1" fmla="*/ 107780 w 1422230"/>
              <a:gd name="connsiteY1" fmla="*/ 9372 h 1082601"/>
              <a:gd name="connsiteX2" fmla="*/ 215560 w 1422230"/>
              <a:gd name="connsiteY2" fmla="*/ 18744 h 1082601"/>
              <a:gd name="connsiteX3" fmla="*/ 318654 w 1422230"/>
              <a:gd name="connsiteY3" fmla="*/ 42175 h 1082601"/>
              <a:gd name="connsiteX4" fmla="*/ 426434 w 1422230"/>
              <a:gd name="connsiteY4" fmla="*/ 65605 h 1082601"/>
              <a:gd name="connsiteX5" fmla="*/ 524843 w 1422230"/>
              <a:gd name="connsiteY5" fmla="*/ 98408 h 1082601"/>
              <a:gd name="connsiteX6" fmla="*/ 623251 w 1422230"/>
              <a:gd name="connsiteY6" fmla="*/ 135897 h 1082601"/>
              <a:gd name="connsiteX7" fmla="*/ 721659 w 1422230"/>
              <a:gd name="connsiteY7" fmla="*/ 182758 h 1082601"/>
              <a:gd name="connsiteX8" fmla="*/ 810695 w 1422230"/>
              <a:gd name="connsiteY8" fmla="*/ 229619 h 1082601"/>
              <a:gd name="connsiteX9" fmla="*/ 902074 w 1422230"/>
              <a:gd name="connsiteY9" fmla="*/ 285852 h 1082601"/>
              <a:gd name="connsiteX10" fmla="*/ 991109 w 1422230"/>
              <a:gd name="connsiteY10" fmla="*/ 346771 h 1082601"/>
              <a:gd name="connsiteX11" fmla="*/ 1070773 w 1422230"/>
              <a:gd name="connsiteY11" fmla="*/ 412376 h 1082601"/>
              <a:gd name="connsiteX12" fmla="*/ 1150437 w 1422230"/>
              <a:gd name="connsiteY12" fmla="*/ 487354 h 1082601"/>
              <a:gd name="connsiteX13" fmla="*/ 1225414 w 1422230"/>
              <a:gd name="connsiteY13" fmla="*/ 562331 h 1082601"/>
              <a:gd name="connsiteX14" fmla="*/ 1295706 w 1422230"/>
              <a:gd name="connsiteY14" fmla="*/ 641995 h 1082601"/>
              <a:gd name="connsiteX15" fmla="*/ 1361311 w 1422230"/>
              <a:gd name="connsiteY15" fmla="*/ 731031 h 1082601"/>
              <a:gd name="connsiteX16" fmla="*/ 1422230 w 1422230"/>
              <a:gd name="connsiteY16" fmla="*/ 820067 h 1082601"/>
              <a:gd name="connsiteX17" fmla="*/ 970012 w 1422230"/>
              <a:gd name="connsiteY17" fmla="*/ 1082601 h 1082601"/>
              <a:gd name="connsiteX18" fmla="*/ 957494 w 1422230"/>
              <a:gd name="connsiteY18" fmla="*/ 1061996 h 1082601"/>
              <a:gd name="connsiteX19" fmla="*/ 62598 w 1422230"/>
              <a:gd name="connsiteY19" fmla="*/ 525618 h 1082601"/>
              <a:gd name="connsiteX20" fmla="*/ 0 w 1422230"/>
              <a:gd name="connsiteY20" fmla="*/ 522457 h 1082601"/>
              <a:gd name="connsiteX21" fmla="*/ 0 w 1422230"/>
              <a:gd name="connsiteY21" fmla="*/ 0 h 1082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230" h="1082601">
                <a:moveTo>
                  <a:pt x="0" y="0"/>
                </a:moveTo>
                <a:lnTo>
                  <a:pt x="107780" y="9372"/>
                </a:lnTo>
                <a:lnTo>
                  <a:pt x="215560" y="18744"/>
                </a:lnTo>
                <a:lnTo>
                  <a:pt x="318654" y="42175"/>
                </a:lnTo>
                <a:lnTo>
                  <a:pt x="426434" y="65605"/>
                </a:lnTo>
                <a:lnTo>
                  <a:pt x="524843" y="98408"/>
                </a:lnTo>
                <a:lnTo>
                  <a:pt x="623251" y="135897"/>
                </a:lnTo>
                <a:lnTo>
                  <a:pt x="721659" y="182758"/>
                </a:lnTo>
                <a:lnTo>
                  <a:pt x="810695" y="229619"/>
                </a:lnTo>
                <a:lnTo>
                  <a:pt x="902074" y="285852"/>
                </a:lnTo>
                <a:lnTo>
                  <a:pt x="991109" y="346771"/>
                </a:lnTo>
                <a:lnTo>
                  <a:pt x="1070773" y="412376"/>
                </a:lnTo>
                <a:lnTo>
                  <a:pt x="1150437" y="487354"/>
                </a:lnTo>
                <a:lnTo>
                  <a:pt x="1225414" y="562331"/>
                </a:lnTo>
                <a:lnTo>
                  <a:pt x="1295706" y="641995"/>
                </a:lnTo>
                <a:lnTo>
                  <a:pt x="1361311" y="731031"/>
                </a:lnTo>
                <a:lnTo>
                  <a:pt x="1422230" y="820067"/>
                </a:lnTo>
                <a:lnTo>
                  <a:pt x="970012" y="1082601"/>
                </a:lnTo>
                <a:lnTo>
                  <a:pt x="957494" y="1061996"/>
                </a:lnTo>
                <a:cubicBezTo>
                  <a:pt x="758398" y="767294"/>
                  <a:pt x="435039" y="563442"/>
                  <a:pt x="62598" y="525618"/>
                </a:cubicBezTo>
                <a:lnTo>
                  <a:pt x="0" y="522457"/>
                </a:lnTo>
                <a:lnTo>
                  <a:pt x="0"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27" name="타원 26">
            <a:extLst>
              <a:ext uri="{FF2B5EF4-FFF2-40B4-BE49-F238E27FC236}">
                <a16:creationId xmlns:a16="http://schemas.microsoft.com/office/drawing/2014/main" id="{DD99EDBF-EBD6-4891-B2D2-75AD34A7F392}"/>
              </a:ext>
            </a:extLst>
          </p:cNvPr>
          <p:cNvSpPr/>
          <p:nvPr/>
        </p:nvSpPr>
        <p:spPr>
          <a:xfrm>
            <a:off x="6610679" y="2477929"/>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28" name="Text Box 8">
            <a:extLst>
              <a:ext uri="{FF2B5EF4-FFF2-40B4-BE49-F238E27FC236}">
                <a16:creationId xmlns:a16="http://schemas.microsoft.com/office/drawing/2014/main" id="{9E30393E-1214-4049-9C79-69D37C1B2228}"/>
              </a:ext>
            </a:extLst>
          </p:cNvPr>
          <p:cNvSpPr txBox="1">
            <a:spLocks noChangeArrowheads="1"/>
          </p:cNvSpPr>
          <p:nvPr/>
        </p:nvSpPr>
        <p:spPr bwMode="auto">
          <a:xfrm>
            <a:off x="6349210" y="2631141"/>
            <a:ext cx="1165902" cy="338554"/>
          </a:xfrm>
          <a:prstGeom prst="rect">
            <a:avLst/>
          </a:prstGeom>
          <a:noFill/>
          <a:ln w="9525">
            <a:noFill/>
            <a:miter lim="800000"/>
            <a:headEnd/>
            <a:tailEnd/>
          </a:ln>
          <a:effectLst/>
        </p:spPr>
        <p:txBody>
          <a:bodyPr wrap="square">
            <a:spAutoFit/>
          </a:bodyPr>
          <a:lstStyle/>
          <a:p>
            <a:pPr algn="ctr">
              <a:defRPr/>
            </a:pPr>
            <a:r>
              <a:rPr lang="en-US" altLang="ko-KR" sz="1600">
                <a:solidFill>
                  <a:schemeClr val="bg1"/>
                </a:solidFill>
                <a:latin typeface="+mj-lt"/>
                <a:ea typeface="맑은 고딕" pitchFamily="50" charset="-127"/>
              </a:rPr>
              <a:t>03</a:t>
            </a:r>
            <a:endParaRPr lang="ko-KR" altLang="ko-KR" sz="1600" dirty="0">
              <a:solidFill>
                <a:schemeClr val="bg1"/>
              </a:solidFill>
              <a:latin typeface="+mj-lt"/>
              <a:ea typeface="맑은 고딕" pitchFamily="50" charset="-127"/>
            </a:endParaRPr>
          </a:p>
        </p:txBody>
      </p:sp>
      <p:sp>
        <p:nvSpPr>
          <p:cNvPr id="30" name="자유형 17">
            <a:extLst>
              <a:ext uri="{FF2B5EF4-FFF2-40B4-BE49-F238E27FC236}">
                <a16:creationId xmlns:a16="http://schemas.microsoft.com/office/drawing/2014/main" id="{C517E27A-A42D-4FB8-8E5A-0C9F9E7DF25E}"/>
              </a:ext>
            </a:extLst>
          </p:cNvPr>
          <p:cNvSpPr/>
          <p:nvPr/>
        </p:nvSpPr>
        <p:spPr>
          <a:xfrm>
            <a:off x="7180813" y="3401021"/>
            <a:ext cx="656699" cy="1640132"/>
          </a:xfrm>
          <a:custGeom>
            <a:avLst/>
            <a:gdLst>
              <a:gd name="connsiteX0" fmla="*/ 455197 w 656699"/>
              <a:gd name="connsiteY0" fmla="*/ 0 h 1640132"/>
              <a:gd name="connsiteX1" fmla="*/ 502058 w 656699"/>
              <a:gd name="connsiteY1" fmla="*/ 98408 h 1640132"/>
              <a:gd name="connsiteX2" fmla="*/ 539547 w 656699"/>
              <a:gd name="connsiteY2" fmla="*/ 196816 h 1640132"/>
              <a:gd name="connsiteX3" fmla="*/ 577036 w 656699"/>
              <a:gd name="connsiteY3" fmla="*/ 295224 h 1640132"/>
              <a:gd name="connsiteX4" fmla="*/ 605152 w 656699"/>
              <a:gd name="connsiteY4" fmla="*/ 398318 h 1640132"/>
              <a:gd name="connsiteX5" fmla="*/ 628583 w 656699"/>
              <a:gd name="connsiteY5" fmla="*/ 501412 h 1640132"/>
              <a:gd name="connsiteX6" fmla="*/ 642641 w 656699"/>
              <a:gd name="connsiteY6" fmla="*/ 609192 h 1640132"/>
              <a:gd name="connsiteX7" fmla="*/ 652013 w 656699"/>
              <a:gd name="connsiteY7" fmla="*/ 712286 h 1640132"/>
              <a:gd name="connsiteX8" fmla="*/ 656699 w 656699"/>
              <a:gd name="connsiteY8" fmla="*/ 820066 h 1640132"/>
              <a:gd name="connsiteX9" fmla="*/ 652013 w 656699"/>
              <a:gd name="connsiteY9" fmla="*/ 927846 h 1640132"/>
              <a:gd name="connsiteX10" fmla="*/ 642641 w 656699"/>
              <a:gd name="connsiteY10" fmla="*/ 1035626 h 1640132"/>
              <a:gd name="connsiteX11" fmla="*/ 628583 w 656699"/>
              <a:gd name="connsiteY11" fmla="*/ 1138720 h 1640132"/>
              <a:gd name="connsiteX12" fmla="*/ 605152 w 656699"/>
              <a:gd name="connsiteY12" fmla="*/ 1246501 h 1640132"/>
              <a:gd name="connsiteX13" fmla="*/ 577036 w 656699"/>
              <a:gd name="connsiteY13" fmla="*/ 1344908 h 1640132"/>
              <a:gd name="connsiteX14" fmla="*/ 539547 w 656699"/>
              <a:gd name="connsiteY14" fmla="*/ 1448002 h 1640132"/>
              <a:gd name="connsiteX15" fmla="*/ 502058 w 656699"/>
              <a:gd name="connsiteY15" fmla="*/ 1546410 h 1640132"/>
              <a:gd name="connsiteX16" fmla="*/ 455197 w 656699"/>
              <a:gd name="connsiteY16" fmla="*/ 1640132 h 1640132"/>
              <a:gd name="connsiteX17" fmla="*/ 0 w 656699"/>
              <a:gd name="connsiteY17" fmla="*/ 1378841 h 1640132"/>
              <a:gd name="connsiteX18" fmla="*/ 38354 w 656699"/>
              <a:gd name="connsiteY18" fmla="*/ 1299223 h 1640132"/>
              <a:gd name="connsiteX19" fmla="*/ 135091 w 656699"/>
              <a:gd name="connsiteY19" fmla="*/ 820065 h 1640132"/>
              <a:gd name="connsiteX20" fmla="*/ 38354 w 656699"/>
              <a:gd name="connsiteY20" fmla="*/ 340907 h 1640132"/>
              <a:gd name="connsiteX21" fmla="*/ 1 w 656699"/>
              <a:gd name="connsiteY21" fmla="*/ 261291 h 1640132"/>
              <a:gd name="connsiteX22" fmla="*/ 455197 w 656699"/>
              <a:gd name="connsiteY22" fmla="*/ 0 h 164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6699" h="1640132">
                <a:moveTo>
                  <a:pt x="455197" y="0"/>
                </a:moveTo>
                <a:lnTo>
                  <a:pt x="502058" y="98408"/>
                </a:lnTo>
                <a:lnTo>
                  <a:pt x="539547" y="196816"/>
                </a:lnTo>
                <a:lnTo>
                  <a:pt x="577036" y="295224"/>
                </a:lnTo>
                <a:lnTo>
                  <a:pt x="605152" y="398318"/>
                </a:lnTo>
                <a:lnTo>
                  <a:pt x="628583" y="501412"/>
                </a:lnTo>
                <a:lnTo>
                  <a:pt x="642641" y="609192"/>
                </a:lnTo>
                <a:lnTo>
                  <a:pt x="652013" y="712286"/>
                </a:lnTo>
                <a:lnTo>
                  <a:pt x="656699" y="820066"/>
                </a:lnTo>
                <a:lnTo>
                  <a:pt x="652013" y="927846"/>
                </a:lnTo>
                <a:lnTo>
                  <a:pt x="642641" y="1035626"/>
                </a:lnTo>
                <a:lnTo>
                  <a:pt x="628583" y="1138720"/>
                </a:lnTo>
                <a:lnTo>
                  <a:pt x="605152" y="1246501"/>
                </a:lnTo>
                <a:lnTo>
                  <a:pt x="577036" y="1344908"/>
                </a:lnTo>
                <a:lnTo>
                  <a:pt x="539547" y="1448002"/>
                </a:lnTo>
                <a:lnTo>
                  <a:pt x="502058" y="1546410"/>
                </a:lnTo>
                <a:lnTo>
                  <a:pt x="455197" y="1640132"/>
                </a:lnTo>
                <a:lnTo>
                  <a:pt x="0" y="1378841"/>
                </a:lnTo>
                <a:lnTo>
                  <a:pt x="38354" y="1299223"/>
                </a:lnTo>
                <a:cubicBezTo>
                  <a:pt x="100645" y="1151949"/>
                  <a:pt x="135091" y="990030"/>
                  <a:pt x="135091" y="820065"/>
                </a:cubicBezTo>
                <a:cubicBezTo>
                  <a:pt x="135091" y="650101"/>
                  <a:pt x="100645" y="488181"/>
                  <a:pt x="38354" y="340907"/>
                </a:cubicBezTo>
                <a:lnTo>
                  <a:pt x="1" y="261291"/>
                </a:lnTo>
                <a:lnTo>
                  <a:pt x="455197"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31" name="타원 30">
            <a:extLst>
              <a:ext uri="{FF2B5EF4-FFF2-40B4-BE49-F238E27FC236}">
                <a16:creationId xmlns:a16="http://schemas.microsoft.com/office/drawing/2014/main" id="{63EA294D-316F-46A8-A22D-45AAED514004}"/>
              </a:ext>
            </a:extLst>
          </p:cNvPr>
          <p:cNvSpPr/>
          <p:nvPr/>
        </p:nvSpPr>
        <p:spPr>
          <a:xfrm>
            <a:off x="7453063" y="3885722"/>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2" name="Text Box 8">
            <a:extLst>
              <a:ext uri="{FF2B5EF4-FFF2-40B4-BE49-F238E27FC236}">
                <a16:creationId xmlns:a16="http://schemas.microsoft.com/office/drawing/2014/main" id="{FD0693FA-4151-415E-9FB5-728CABEE00F8}"/>
              </a:ext>
            </a:extLst>
          </p:cNvPr>
          <p:cNvSpPr txBox="1">
            <a:spLocks noChangeArrowheads="1"/>
          </p:cNvSpPr>
          <p:nvPr/>
        </p:nvSpPr>
        <p:spPr bwMode="auto">
          <a:xfrm>
            <a:off x="7190833" y="4046284"/>
            <a:ext cx="1165902" cy="338554"/>
          </a:xfrm>
          <a:prstGeom prst="rect">
            <a:avLst/>
          </a:prstGeom>
          <a:noFill/>
          <a:ln w="9525">
            <a:noFill/>
            <a:miter lim="800000"/>
            <a:headEnd/>
            <a:tailEnd/>
          </a:ln>
          <a:effectLst/>
        </p:spPr>
        <p:txBody>
          <a:bodyPr wrap="square">
            <a:spAutoFit/>
          </a:bodyPr>
          <a:lstStyle/>
          <a:p>
            <a:pPr algn="ctr">
              <a:defRPr/>
            </a:pPr>
            <a:r>
              <a:rPr lang="en-US" altLang="ko-KR" sz="1600" dirty="0">
                <a:solidFill>
                  <a:schemeClr val="bg1"/>
                </a:solidFill>
                <a:latin typeface="+mj-lt"/>
                <a:ea typeface="맑은 고딕" pitchFamily="50" charset="-127"/>
              </a:rPr>
              <a:t>04</a:t>
            </a:r>
            <a:endParaRPr lang="ko-KR" altLang="ko-KR" sz="1600" dirty="0">
              <a:solidFill>
                <a:schemeClr val="bg1"/>
              </a:solidFill>
              <a:latin typeface="+mj-lt"/>
              <a:ea typeface="맑은 고딕" pitchFamily="50" charset="-127"/>
            </a:endParaRPr>
          </a:p>
        </p:txBody>
      </p:sp>
      <p:sp>
        <p:nvSpPr>
          <p:cNvPr id="34" name="자유형 16">
            <a:extLst>
              <a:ext uri="{FF2B5EF4-FFF2-40B4-BE49-F238E27FC236}">
                <a16:creationId xmlns:a16="http://schemas.microsoft.com/office/drawing/2014/main" id="{5DC8D66F-3CD8-4E55-B135-3CB8F28F0AA8}"/>
              </a:ext>
            </a:extLst>
          </p:cNvPr>
          <p:cNvSpPr/>
          <p:nvPr/>
        </p:nvSpPr>
        <p:spPr>
          <a:xfrm>
            <a:off x="6148175" y="4892207"/>
            <a:ext cx="1422230" cy="1083823"/>
          </a:xfrm>
          <a:custGeom>
            <a:avLst/>
            <a:gdLst>
              <a:gd name="connsiteX0" fmla="*/ 967907 w 1422230"/>
              <a:gd name="connsiteY0" fmla="*/ 0 h 1083823"/>
              <a:gd name="connsiteX1" fmla="*/ 1422230 w 1422230"/>
              <a:gd name="connsiteY1" fmla="*/ 263756 h 1083823"/>
              <a:gd name="connsiteX2" fmla="*/ 1361311 w 1422230"/>
              <a:gd name="connsiteY2" fmla="*/ 352792 h 1083823"/>
              <a:gd name="connsiteX3" fmla="*/ 1295706 w 1422230"/>
              <a:gd name="connsiteY3" fmla="*/ 437142 h 1083823"/>
              <a:gd name="connsiteX4" fmla="*/ 1225414 w 1422230"/>
              <a:gd name="connsiteY4" fmla="*/ 521492 h 1083823"/>
              <a:gd name="connsiteX5" fmla="*/ 1150437 w 1422230"/>
              <a:gd name="connsiteY5" fmla="*/ 596469 h 1083823"/>
              <a:gd name="connsiteX6" fmla="*/ 1070773 w 1422230"/>
              <a:gd name="connsiteY6" fmla="*/ 666761 h 1083823"/>
              <a:gd name="connsiteX7" fmla="*/ 991109 w 1422230"/>
              <a:gd name="connsiteY7" fmla="*/ 732366 h 1083823"/>
              <a:gd name="connsiteX8" fmla="*/ 902074 w 1422230"/>
              <a:gd name="connsiteY8" fmla="*/ 793285 h 1083823"/>
              <a:gd name="connsiteX9" fmla="*/ 810695 w 1422230"/>
              <a:gd name="connsiteY9" fmla="*/ 849518 h 1083823"/>
              <a:gd name="connsiteX10" fmla="*/ 721659 w 1422230"/>
              <a:gd name="connsiteY10" fmla="*/ 901065 h 1083823"/>
              <a:gd name="connsiteX11" fmla="*/ 623251 w 1422230"/>
              <a:gd name="connsiteY11" fmla="*/ 943240 h 1083823"/>
              <a:gd name="connsiteX12" fmla="*/ 524843 w 1422230"/>
              <a:gd name="connsiteY12" fmla="*/ 980729 h 1083823"/>
              <a:gd name="connsiteX13" fmla="*/ 426434 w 1422230"/>
              <a:gd name="connsiteY13" fmla="*/ 1013532 h 1083823"/>
              <a:gd name="connsiteX14" fmla="*/ 318654 w 1422230"/>
              <a:gd name="connsiteY14" fmla="*/ 1041648 h 1083823"/>
              <a:gd name="connsiteX15" fmla="*/ 215560 w 1422230"/>
              <a:gd name="connsiteY15" fmla="*/ 1060393 h 1083823"/>
              <a:gd name="connsiteX16" fmla="*/ 107780 w 1422230"/>
              <a:gd name="connsiteY16" fmla="*/ 1074451 h 1083823"/>
              <a:gd name="connsiteX17" fmla="*/ 0 w 1422230"/>
              <a:gd name="connsiteY17" fmla="*/ 1083823 h 1083823"/>
              <a:gd name="connsiteX18" fmla="*/ 0 w 1422230"/>
              <a:gd name="connsiteY18" fmla="*/ 556678 h 1083823"/>
              <a:gd name="connsiteX19" fmla="*/ 62598 w 1422230"/>
              <a:gd name="connsiteY19" fmla="*/ 553517 h 1083823"/>
              <a:gd name="connsiteX20" fmla="*/ 957494 w 1422230"/>
              <a:gd name="connsiteY20" fmla="*/ 17139 h 1083823"/>
              <a:gd name="connsiteX21" fmla="*/ 967907 w 1422230"/>
              <a:gd name="connsiteY21" fmla="*/ 0 h 1083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230" h="1083823">
                <a:moveTo>
                  <a:pt x="967907" y="0"/>
                </a:moveTo>
                <a:lnTo>
                  <a:pt x="1422230" y="263756"/>
                </a:lnTo>
                <a:lnTo>
                  <a:pt x="1361311" y="352792"/>
                </a:lnTo>
                <a:lnTo>
                  <a:pt x="1295706" y="437142"/>
                </a:lnTo>
                <a:lnTo>
                  <a:pt x="1225414" y="521492"/>
                </a:lnTo>
                <a:lnTo>
                  <a:pt x="1150437" y="596469"/>
                </a:lnTo>
                <a:lnTo>
                  <a:pt x="1070773" y="666761"/>
                </a:lnTo>
                <a:lnTo>
                  <a:pt x="991109" y="732366"/>
                </a:lnTo>
                <a:lnTo>
                  <a:pt x="902074" y="793285"/>
                </a:lnTo>
                <a:lnTo>
                  <a:pt x="810695" y="849518"/>
                </a:lnTo>
                <a:lnTo>
                  <a:pt x="721659" y="901065"/>
                </a:lnTo>
                <a:lnTo>
                  <a:pt x="623251" y="943240"/>
                </a:lnTo>
                <a:lnTo>
                  <a:pt x="524843" y="980729"/>
                </a:lnTo>
                <a:lnTo>
                  <a:pt x="426434" y="1013532"/>
                </a:lnTo>
                <a:lnTo>
                  <a:pt x="318654" y="1041648"/>
                </a:lnTo>
                <a:lnTo>
                  <a:pt x="215560" y="1060393"/>
                </a:lnTo>
                <a:lnTo>
                  <a:pt x="107780" y="1074451"/>
                </a:lnTo>
                <a:lnTo>
                  <a:pt x="0" y="1083823"/>
                </a:lnTo>
                <a:lnTo>
                  <a:pt x="0" y="556678"/>
                </a:lnTo>
                <a:lnTo>
                  <a:pt x="62598" y="553517"/>
                </a:lnTo>
                <a:cubicBezTo>
                  <a:pt x="435039" y="515693"/>
                  <a:pt x="758398" y="311841"/>
                  <a:pt x="957494" y="17139"/>
                </a:cubicBezTo>
                <a:lnTo>
                  <a:pt x="967907"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35" name="타원 34">
            <a:extLst>
              <a:ext uri="{FF2B5EF4-FFF2-40B4-BE49-F238E27FC236}">
                <a16:creationId xmlns:a16="http://schemas.microsoft.com/office/drawing/2014/main" id="{5378D880-8593-4C7F-8D44-F77AB4699004}"/>
              </a:ext>
            </a:extLst>
          </p:cNvPr>
          <p:cNvSpPr/>
          <p:nvPr/>
        </p:nvSpPr>
        <p:spPr>
          <a:xfrm>
            <a:off x="6610679" y="5307838"/>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36" name="Text Box 8">
            <a:extLst>
              <a:ext uri="{FF2B5EF4-FFF2-40B4-BE49-F238E27FC236}">
                <a16:creationId xmlns:a16="http://schemas.microsoft.com/office/drawing/2014/main" id="{4D24C22D-466E-4DE3-AAEE-F90359973B76}"/>
              </a:ext>
            </a:extLst>
          </p:cNvPr>
          <p:cNvSpPr txBox="1">
            <a:spLocks noChangeArrowheads="1"/>
          </p:cNvSpPr>
          <p:nvPr/>
        </p:nvSpPr>
        <p:spPr bwMode="auto">
          <a:xfrm>
            <a:off x="6348449" y="5472313"/>
            <a:ext cx="1165902" cy="338554"/>
          </a:xfrm>
          <a:prstGeom prst="rect">
            <a:avLst/>
          </a:prstGeom>
          <a:noFill/>
          <a:ln w="9525">
            <a:noFill/>
            <a:miter lim="800000"/>
            <a:headEnd/>
            <a:tailEnd/>
          </a:ln>
          <a:effectLst/>
        </p:spPr>
        <p:txBody>
          <a:bodyPr wrap="square">
            <a:spAutoFit/>
          </a:bodyPr>
          <a:lstStyle/>
          <a:p>
            <a:pPr algn="ctr">
              <a:defRPr/>
            </a:pPr>
            <a:r>
              <a:rPr lang="en-US" altLang="ko-KR" sz="1600">
                <a:solidFill>
                  <a:schemeClr val="bg1"/>
                </a:solidFill>
                <a:latin typeface="+mj-lt"/>
                <a:ea typeface="맑은 고딕" pitchFamily="50" charset="-127"/>
              </a:rPr>
              <a:t>05</a:t>
            </a:r>
            <a:endParaRPr lang="ko-KR" altLang="ko-KR" sz="1600" dirty="0">
              <a:solidFill>
                <a:schemeClr val="bg1"/>
              </a:solidFill>
              <a:latin typeface="+mj-lt"/>
              <a:ea typeface="맑은 고딕" pitchFamily="50" charset="-127"/>
            </a:endParaRPr>
          </a:p>
        </p:txBody>
      </p:sp>
      <p:sp>
        <p:nvSpPr>
          <p:cNvPr id="38" name="자유형 15">
            <a:extLst>
              <a:ext uri="{FF2B5EF4-FFF2-40B4-BE49-F238E27FC236}">
                <a16:creationId xmlns:a16="http://schemas.microsoft.com/office/drawing/2014/main" id="{566EEF5E-493E-494C-979E-87227FE58D8F}"/>
              </a:ext>
            </a:extLst>
          </p:cNvPr>
          <p:cNvSpPr/>
          <p:nvPr/>
        </p:nvSpPr>
        <p:spPr>
          <a:xfrm>
            <a:off x="4599419" y="4892207"/>
            <a:ext cx="1422230" cy="1083822"/>
          </a:xfrm>
          <a:custGeom>
            <a:avLst/>
            <a:gdLst>
              <a:gd name="connsiteX0" fmla="*/ 454322 w 1422230"/>
              <a:gd name="connsiteY0" fmla="*/ 0 h 1083822"/>
              <a:gd name="connsiteX1" fmla="*/ 464734 w 1422230"/>
              <a:gd name="connsiteY1" fmla="*/ 17138 h 1083822"/>
              <a:gd name="connsiteX2" fmla="*/ 1359630 w 1422230"/>
              <a:gd name="connsiteY2" fmla="*/ 553516 h 1083822"/>
              <a:gd name="connsiteX3" fmla="*/ 1422230 w 1422230"/>
              <a:gd name="connsiteY3" fmla="*/ 556677 h 1083822"/>
              <a:gd name="connsiteX4" fmla="*/ 1422230 w 1422230"/>
              <a:gd name="connsiteY4" fmla="*/ 1083822 h 1083822"/>
              <a:gd name="connsiteX5" fmla="*/ 1314450 w 1422230"/>
              <a:gd name="connsiteY5" fmla="*/ 1074450 h 1083822"/>
              <a:gd name="connsiteX6" fmla="*/ 1206670 w 1422230"/>
              <a:gd name="connsiteY6" fmla="*/ 1060392 h 1083822"/>
              <a:gd name="connsiteX7" fmla="*/ 1098890 w 1422230"/>
              <a:gd name="connsiteY7" fmla="*/ 1041647 h 1083822"/>
              <a:gd name="connsiteX8" fmla="*/ 995795 w 1422230"/>
              <a:gd name="connsiteY8" fmla="*/ 1013531 h 1083822"/>
              <a:gd name="connsiteX9" fmla="*/ 897387 w 1422230"/>
              <a:gd name="connsiteY9" fmla="*/ 980728 h 1083822"/>
              <a:gd name="connsiteX10" fmla="*/ 798979 w 1422230"/>
              <a:gd name="connsiteY10" fmla="*/ 943239 h 1083822"/>
              <a:gd name="connsiteX11" fmla="*/ 700571 w 1422230"/>
              <a:gd name="connsiteY11" fmla="*/ 901064 h 1083822"/>
              <a:gd name="connsiteX12" fmla="*/ 611535 w 1422230"/>
              <a:gd name="connsiteY12" fmla="*/ 849517 h 1083822"/>
              <a:gd name="connsiteX13" fmla="*/ 515470 w 1422230"/>
              <a:gd name="connsiteY13" fmla="*/ 793284 h 1083822"/>
              <a:gd name="connsiteX14" fmla="*/ 431121 w 1422230"/>
              <a:gd name="connsiteY14" fmla="*/ 732365 h 1083822"/>
              <a:gd name="connsiteX15" fmla="*/ 346771 w 1422230"/>
              <a:gd name="connsiteY15" fmla="*/ 666760 h 1083822"/>
              <a:gd name="connsiteX16" fmla="*/ 271793 w 1422230"/>
              <a:gd name="connsiteY16" fmla="*/ 596468 h 1083822"/>
              <a:gd name="connsiteX17" fmla="*/ 196816 w 1422230"/>
              <a:gd name="connsiteY17" fmla="*/ 521491 h 1083822"/>
              <a:gd name="connsiteX18" fmla="*/ 126524 w 1422230"/>
              <a:gd name="connsiteY18" fmla="*/ 437141 h 1083822"/>
              <a:gd name="connsiteX19" fmla="*/ 60919 w 1422230"/>
              <a:gd name="connsiteY19" fmla="*/ 352791 h 1083822"/>
              <a:gd name="connsiteX20" fmla="*/ 0 w 1422230"/>
              <a:gd name="connsiteY20" fmla="*/ 263755 h 1083822"/>
              <a:gd name="connsiteX21" fmla="*/ 454322 w 1422230"/>
              <a:gd name="connsiteY21" fmla="*/ 0 h 1083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22230" h="1083822">
                <a:moveTo>
                  <a:pt x="454322" y="0"/>
                </a:moveTo>
                <a:lnTo>
                  <a:pt x="464734" y="17138"/>
                </a:lnTo>
                <a:cubicBezTo>
                  <a:pt x="663831" y="311840"/>
                  <a:pt x="987189" y="515692"/>
                  <a:pt x="1359630" y="553516"/>
                </a:cubicBezTo>
                <a:lnTo>
                  <a:pt x="1422230" y="556677"/>
                </a:lnTo>
                <a:lnTo>
                  <a:pt x="1422230" y="1083822"/>
                </a:lnTo>
                <a:lnTo>
                  <a:pt x="1314450" y="1074450"/>
                </a:lnTo>
                <a:lnTo>
                  <a:pt x="1206670" y="1060392"/>
                </a:lnTo>
                <a:lnTo>
                  <a:pt x="1098890" y="1041647"/>
                </a:lnTo>
                <a:lnTo>
                  <a:pt x="995795" y="1013531"/>
                </a:lnTo>
                <a:lnTo>
                  <a:pt x="897387" y="980728"/>
                </a:lnTo>
                <a:lnTo>
                  <a:pt x="798979" y="943239"/>
                </a:lnTo>
                <a:lnTo>
                  <a:pt x="700571" y="901064"/>
                </a:lnTo>
                <a:lnTo>
                  <a:pt x="611535" y="849517"/>
                </a:lnTo>
                <a:lnTo>
                  <a:pt x="515470" y="793284"/>
                </a:lnTo>
                <a:lnTo>
                  <a:pt x="431121" y="732365"/>
                </a:lnTo>
                <a:lnTo>
                  <a:pt x="346771" y="666760"/>
                </a:lnTo>
                <a:lnTo>
                  <a:pt x="271793" y="596468"/>
                </a:lnTo>
                <a:lnTo>
                  <a:pt x="196816" y="521491"/>
                </a:lnTo>
                <a:lnTo>
                  <a:pt x="126524" y="437141"/>
                </a:lnTo>
                <a:lnTo>
                  <a:pt x="60919" y="352791"/>
                </a:lnTo>
                <a:lnTo>
                  <a:pt x="0" y="263755"/>
                </a:lnTo>
                <a:lnTo>
                  <a:pt x="454322"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39" name="타원 38">
            <a:extLst>
              <a:ext uri="{FF2B5EF4-FFF2-40B4-BE49-F238E27FC236}">
                <a16:creationId xmlns:a16="http://schemas.microsoft.com/office/drawing/2014/main" id="{103127E2-E8F9-40E6-A121-B427B8556777}"/>
              </a:ext>
            </a:extLst>
          </p:cNvPr>
          <p:cNvSpPr/>
          <p:nvPr/>
        </p:nvSpPr>
        <p:spPr>
          <a:xfrm>
            <a:off x="4891497" y="5307838"/>
            <a:ext cx="641442" cy="641442"/>
          </a:xfrm>
          <a:prstGeom prst="ellipse">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
        <p:nvSpPr>
          <p:cNvPr id="40" name="Text Box 8">
            <a:extLst>
              <a:ext uri="{FF2B5EF4-FFF2-40B4-BE49-F238E27FC236}">
                <a16:creationId xmlns:a16="http://schemas.microsoft.com/office/drawing/2014/main" id="{9F913AE1-0534-47EC-9C1C-0D91BE596FA0}"/>
              </a:ext>
            </a:extLst>
          </p:cNvPr>
          <p:cNvSpPr txBox="1">
            <a:spLocks noChangeArrowheads="1"/>
          </p:cNvSpPr>
          <p:nvPr/>
        </p:nvSpPr>
        <p:spPr bwMode="auto">
          <a:xfrm>
            <a:off x="4629266" y="5472313"/>
            <a:ext cx="1165902" cy="338554"/>
          </a:xfrm>
          <a:prstGeom prst="rect">
            <a:avLst/>
          </a:prstGeom>
          <a:noFill/>
          <a:ln w="9525">
            <a:noFill/>
            <a:miter lim="800000"/>
            <a:headEnd/>
            <a:tailEnd/>
          </a:ln>
          <a:effectLst/>
        </p:spPr>
        <p:txBody>
          <a:bodyPr wrap="square">
            <a:spAutoFit/>
          </a:bodyPr>
          <a:lstStyle/>
          <a:p>
            <a:pPr algn="ctr">
              <a:defRPr/>
            </a:pPr>
            <a:r>
              <a:rPr lang="en-US" altLang="ko-KR" sz="1600">
                <a:solidFill>
                  <a:schemeClr val="bg1"/>
                </a:solidFill>
                <a:latin typeface="+mj-lt"/>
                <a:ea typeface="맑은 고딕" pitchFamily="50" charset="-127"/>
              </a:rPr>
              <a:t>06</a:t>
            </a:r>
            <a:endParaRPr lang="ko-KR" altLang="ko-KR" sz="1600" dirty="0">
              <a:solidFill>
                <a:schemeClr val="bg1"/>
              </a:solidFill>
              <a:latin typeface="+mj-lt"/>
              <a:ea typeface="맑은 고딕" pitchFamily="50" charset="-127"/>
            </a:endParaRPr>
          </a:p>
        </p:txBody>
      </p:sp>
      <p:sp>
        <p:nvSpPr>
          <p:cNvPr id="42" name="자유형 18">
            <a:extLst>
              <a:ext uri="{FF2B5EF4-FFF2-40B4-BE49-F238E27FC236}">
                <a16:creationId xmlns:a16="http://schemas.microsoft.com/office/drawing/2014/main" id="{1E0BBC0B-404B-42B8-B62C-AEB381F64DFD}"/>
              </a:ext>
            </a:extLst>
          </p:cNvPr>
          <p:cNvSpPr/>
          <p:nvPr/>
        </p:nvSpPr>
        <p:spPr>
          <a:xfrm>
            <a:off x="4332313" y="3401021"/>
            <a:ext cx="656699" cy="1640132"/>
          </a:xfrm>
          <a:custGeom>
            <a:avLst/>
            <a:gdLst>
              <a:gd name="connsiteX0" fmla="*/ 201502 w 656699"/>
              <a:gd name="connsiteY0" fmla="*/ 0 h 1640132"/>
              <a:gd name="connsiteX1" fmla="*/ 656698 w 656699"/>
              <a:gd name="connsiteY1" fmla="*/ 261291 h 1640132"/>
              <a:gd name="connsiteX2" fmla="*/ 618344 w 656699"/>
              <a:gd name="connsiteY2" fmla="*/ 340907 h 1640132"/>
              <a:gd name="connsiteX3" fmla="*/ 521607 w 656699"/>
              <a:gd name="connsiteY3" fmla="*/ 820065 h 1640132"/>
              <a:gd name="connsiteX4" fmla="*/ 618344 w 656699"/>
              <a:gd name="connsiteY4" fmla="*/ 1299223 h 1640132"/>
              <a:gd name="connsiteX5" fmla="*/ 656699 w 656699"/>
              <a:gd name="connsiteY5" fmla="*/ 1378842 h 1640132"/>
              <a:gd name="connsiteX6" fmla="*/ 201502 w 656699"/>
              <a:gd name="connsiteY6" fmla="*/ 1640132 h 1640132"/>
              <a:gd name="connsiteX7" fmla="*/ 154641 w 656699"/>
              <a:gd name="connsiteY7" fmla="*/ 1546410 h 1640132"/>
              <a:gd name="connsiteX8" fmla="*/ 117152 w 656699"/>
              <a:gd name="connsiteY8" fmla="*/ 1448002 h 1640132"/>
              <a:gd name="connsiteX9" fmla="*/ 79664 w 656699"/>
              <a:gd name="connsiteY9" fmla="*/ 1344908 h 1640132"/>
              <a:gd name="connsiteX10" fmla="*/ 51547 w 656699"/>
              <a:gd name="connsiteY10" fmla="*/ 1246501 h 1640132"/>
              <a:gd name="connsiteX11" fmla="*/ 28116 w 656699"/>
              <a:gd name="connsiteY11" fmla="*/ 1138720 h 1640132"/>
              <a:gd name="connsiteX12" fmla="*/ 14058 w 656699"/>
              <a:gd name="connsiteY12" fmla="*/ 1035626 h 1640132"/>
              <a:gd name="connsiteX13" fmla="*/ 4686 w 656699"/>
              <a:gd name="connsiteY13" fmla="*/ 927846 h 1640132"/>
              <a:gd name="connsiteX14" fmla="*/ 0 w 656699"/>
              <a:gd name="connsiteY14" fmla="*/ 820066 h 1640132"/>
              <a:gd name="connsiteX15" fmla="*/ 4686 w 656699"/>
              <a:gd name="connsiteY15" fmla="*/ 712286 h 1640132"/>
              <a:gd name="connsiteX16" fmla="*/ 14058 w 656699"/>
              <a:gd name="connsiteY16" fmla="*/ 609192 h 1640132"/>
              <a:gd name="connsiteX17" fmla="*/ 28116 w 656699"/>
              <a:gd name="connsiteY17" fmla="*/ 501412 h 1640132"/>
              <a:gd name="connsiteX18" fmla="*/ 51547 w 656699"/>
              <a:gd name="connsiteY18" fmla="*/ 398318 h 1640132"/>
              <a:gd name="connsiteX19" fmla="*/ 79664 w 656699"/>
              <a:gd name="connsiteY19" fmla="*/ 295224 h 1640132"/>
              <a:gd name="connsiteX20" fmla="*/ 117153 w 656699"/>
              <a:gd name="connsiteY20" fmla="*/ 196816 h 1640132"/>
              <a:gd name="connsiteX21" fmla="*/ 154641 w 656699"/>
              <a:gd name="connsiteY21" fmla="*/ 98408 h 1640132"/>
              <a:gd name="connsiteX22" fmla="*/ 201502 w 656699"/>
              <a:gd name="connsiteY22" fmla="*/ 0 h 1640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56699" h="1640132">
                <a:moveTo>
                  <a:pt x="201502" y="0"/>
                </a:moveTo>
                <a:lnTo>
                  <a:pt x="656698" y="261291"/>
                </a:lnTo>
                <a:lnTo>
                  <a:pt x="618344" y="340907"/>
                </a:lnTo>
                <a:cubicBezTo>
                  <a:pt x="556053" y="488181"/>
                  <a:pt x="521607" y="650101"/>
                  <a:pt x="521607" y="820065"/>
                </a:cubicBezTo>
                <a:cubicBezTo>
                  <a:pt x="521607" y="990030"/>
                  <a:pt x="556053" y="1151949"/>
                  <a:pt x="618344" y="1299223"/>
                </a:cubicBezTo>
                <a:lnTo>
                  <a:pt x="656699" y="1378842"/>
                </a:lnTo>
                <a:lnTo>
                  <a:pt x="201502" y="1640132"/>
                </a:lnTo>
                <a:lnTo>
                  <a:pt x="154641" y="1546410"/>
                </a:lnTo>
                <a:lnTo>
                  <a:pt x="117152" y="1448002"/>
                </a:lnTo>
                <a:lnTo>
                  <a:pt x="79664" y="1344908"/>
                </a:lnTo>
                <a:lnTo>
                  <a:pt x="51547" y="1246501"/>
                </a:lnTo>
                <a:lnTo>
                  <a:pt x="28116" y="1138720"/>
                </a:lnTo>
                <a:lnTo>
                  <a:pt x="14058" y="1035626"/>
                </a:lnTo>
                <a:lnTo>
                  <a:pt x="4686" y="927846"/>
                </a:lnTo>
                <a:lnTo>
                  <a:pt x="0" y="820066"/>
                </a:lnTo>
                <a:lnTo>
                  <a:pt x="4686" y="712286"/>
                </a:lnTo>
                <a:lnTo>
                  <a:pt x="14058" y="609192"/>
                </a:lnTo>
                <a:lnTo>
                  <a:pt x="28116" y="501412"/>
                </a:lnTo>
                <a:lnTo>
                  <a:pt x="51547" y="398318"/>
                </a:lnTo>
                <a:lnTo>
                  <a:pt x="79664" y="295224"/>
                </a:lnTo>
                <a:lnTo>
                  <a:pt x="117153" y="196816"/>
                </a:lnTo>
                <a:lnTo>
                  <a:pt x="154641" y="98408"/>
                </a:lnTo>
                <a:lnTo>
                  <a:pt x="201502" y="0"/>
                </a:lnTo>
                <a:close/>
              </a:path>
            </a:pathLst>
          </a:custGeom>
          <a:gradFill flip="none" rotWithShape="1">
            <a:gsLst>
              <a:gs pos="0">
                <a:srgbClr val="B34768">
                  <a:alpha val="40000"/>
                </a:srgbClr>
              </a:gs>
              <a:gs pos="100000">
                <a:srgbClr val="3E8E86">
                  <a:alpha val="50000"/>
                </a:srgbClr>
              </a:gs>
              <a:gs pos="50000">
                <a:srgbClr val="2B2D78">
                  <a:alpha val="50000"/>
                </a:srgbClr>
              </a:gs>
            </a:gsLst>
            <a:lin ang="13500000" scaled="1"/>
            <a:tileRect/>
          </a:gradFill>
          <a:ln>
            <a:noFill/>
          </a:ln>
        </p:spPr>
        <p:txBody>
          <a:bodyPr vert="horz" wrap="square" lIns="91440" tIns="45720" rIns="91440" bIns="45720" numCol="1" rtlCol="0" anchor="t" anchorCtr="0" compatLnSpc="1">
            <a:prstTxWarp prst="textNoShape">
              <a:avLst/>
            </a:prstTxWarp>
          </a:bodyPr>
          <a:lstStyle/>
          <a:p>
            <a:pPr algn="ctr"/>
            <a:endParaRPr lang="ko-KR" altLang="en-US" dirty="0">
              <a:solidFill>
                <a:schemeClr val="tx1"/>
              </a:solidFill>
            </a:endParaRPr>
          </a:p>
        </p:txBody>
      </p:sp>
      <p:sp>
        <p:nvSpPr>
          <p:cNvPr id="44" name="Text Box 8">
            <a:extLst>
              <a:ext uri="{FF2B5EF4-FFF2-40B4-BE49-F238E27FC236}">
                <a16:creationId xmlns:a16="http://schemas.microsoft.com/office/drawing/2014/main" id="{465B3BAD-2B32-4A91-B11C-49B6DD2353D7}"/>
              </a:ext>
            </a:extLst>
          </p:cNvPr>
          <p:cNvSpPr txBox="1">
            <a:spLocks noChangeArrowheads="1"/>
          </p:cNvSpPr>
          <p:nvPr/>
        </p:nvSpPr>
        <p:spPr bwMode="auto">
          <a:xfrm>
            <a:off x="3823723" y="4046285"/>
            <a:ext cx="1165902" cy="338554"/>
          </a:xfrm>
          <a:prstGeom prst="rect">
            <a:avLst/>
          </a:prstGeom>
          <a:noFill/>
          <a:ln w="9525">
            <a:noFill/>
            <a:miter lim="800000"/>
            <a:headEnd/>
            <a:tailEnd/>
          </a:ln>
          <a:effectLst/>
        </p:spPr>
        <p:txBody>
          <a:bodyPr wrap="square">
            <a:spAutoFit/>
          </a:bodyPr>
          <a:lstStyle/>
          <a:p>
            <a:pPr algn="ctr">
              <a:defRPr/>
            </a:pPr>
            <a:r>
              <a:rPr lang="en-US" altLang="ko-KR" sz="1600" dirty="0">
                <a:solidFill>
                  <a:schemeClr val="bg1"/>
                </a:solidFill>
                <a:latin typeface="+mj-lt"/>
                <a:ea typeface="맑은 고딕" pitchFamily="50" charset="-127"/>
              </a:rPr>
              <a:t>01</a:t>
            </a:r>
            <a:endParaRPr lang="ko-KR" altLang="ko-KR" sz="1600" dirty="0">
              <a:solidFill>
                <a:schemeClr val="bg1"/>
              </a:solidFill>
              <a:latin typeface="+mj-lt"/>
              <a:ea typeface="맑은 고딕" pitchFamily="50" charset="-127"/>
            </a:endParaRPr>
          </a:p>
        </p:txBody>
      </p:sp>
      <p:sp>
        <p:nvSpPr>
          <p:cNvPr id="71" name="TextBox 70">
            <a:extLst>
              <a:ext uri="{FF2B5EF4-FFF2-40B4-BE49-F238E27FC236}">
                <a16:creationId xmlns:a16="http://schemas.microsoft.com/office/drawing/2014/main" id="{BA957BC0-DE82-48DF-9677-33722F873B12}"/>
              </a:ext>
            </a:extLst>
          </p:cNvPr>
          <p:cNvSpPr txBox="1"/>
          <p:nvPr/>
        </p:nvSpPr>
        <p:spPr>
          <a:xfrm>
            <a:off x="747009" y="2411998"/>
            <a:ext cx="3236874" cy="606897"/>
          </a:xfrm>
          <a:prstGeom prst="rect">
            <a:avLst/>
          </a:prstGeom>
          <a:noFill/>
        </p:spPr>
        <p:txBody>
          <a:bodyPr wrap="square" rtlCol="0">
            <a:spAutoFit/>
          </a:bodyPr>
          <a:lstStyle/>
          <a:p>
            <a:pPr algn="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No store fees</a:t>
            </a:r>
          </a:p>
        </p:txBody>
      </p:sp>
      <p:sp>
        <p:nvSpPr>
          <p:cNvPr id="72" name="TextBox 71">
            <a:extLst>
              <a:ext uri="{FF2B5EF4-FFF2-40B4-BE49-F238E27FC236}">
                <a16:creationId xmlns:a16="http://schemas.microsoft.com/office/drawing/2014/main" id="{8C121C92-260F-4CE3-A734-7F701F0FD493}"/>
              </a:ext>
            </a:extLst>
          </p:cNvPr>
          <p:cNvSpPr txBox="1"/>
          <p:nvPr/>
        </p:nvSpPr>
        <p:spPr>
          <a:xfrm>
            <a:off x="747009" y="3859813"/>
            <a:ext cx="3236874" cy="606897"/>
          </a:xfrm>
          <a:prstGeom prst="rect">
            <a:avLst/>
          </a:prstGeom>
          <a:noFill/>
        </p:spPr>
        <p:txBody>
          <a:bodyPr wrap="square" rtlCol="0">
            <a:spAutoFit/>
          </a:bodyPr>
          <a:lstStyle/>
          <a:p>
            <a:pPr algn="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Install lightweight</a:t>
            </a:r>
          </a:p>
        </p:txBody>
      </p:sp>
      <p:sp>
        <p:nvSpPr>
          <p:cNvPr id="73" name="TextBox 72">
            <a:extLst>
              <a:ext uri="{FF2B5EF4-FFF2-40B4-BE49-F238E27FC236}">
                <a16:creationId xmlns:a16="http://schemas.microsoft.com/office/drawing/2014/main" id="{15E8B885-F353-48B0-A9D1-A817B560524D}"/>
              </a:ext>
            </a:extLst>
          </p:cNvPr>
          <p:cNvSpPr txBox="1"/>
          <p:nvPr/>
        </p:nvSpPr>
        <p:spPr>
          <a:xfrm>
            <a:off x="747009" y="5307629"/>
            <a:ext cx="3236874" cy="606897"/>
          </a:xfrm>
          <a:prstGeom prst="rect">
            <a:avLst/>
          </a:prstGeom>
          <a:noFill/>
        </p:spPr>
        <p:txBody>
          <a:bodyPr wrap="square" rtlCol="0">
            <a:spAutoFit/>
          </a:bodyPr>
          <a:lstStyle/>
          <a:p>
            <a:pPr algn="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Low cost</a:t>
            </a:r>
          </a:p>
        </p:txBody>
      </p:sp>
      <p:sp>
        <p:nvSpPr>
          <p:cNvPr id="74" name="TextBox 73">
            <a:extLst>
              <a:ext uri="{FF2B5EF4-FFF2-40B4-BE49-F238E27FC236}">
                <a16:creationId xmlns:a16="http://schemas.microsoft.com/office/drawing/2014/main" id="{1744CB63-4C0D-4044-A57A-583F8C7C75E3}"/>
              </a:ext>
            </a:extLst>
          </p:cNvPr>
          <p:cNvSpPr txBox="1"/>
          <p:nvPr/>
        </p:nvSpPr>
        <p:spPr>
          <a:xfrm>
            <a:off x="8265269" y="2411998"/>
            <a:ext cx="3236874" cy="606897"/>
          </a:xfrm>
          <a:prstGeom prst="rect">
            <a:avLst/>
          </a:prstGeom>
          <a:noFill/>
        </p:spPr>
        <p:txBody>
          <a:bodyPr wrap="square" rtlCol="0">
            <a:spAutoFit/>
          </a:bodyPr>
          <a:lstStyle/>
          <a:p>
            <a:pP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Easy Development</a:t>
            </a:r>
          </a:p>
        </p:txBody>
      </p:sp>
      <p:sp>
        <p:nvSpPr>
          <p:cNvPr id="75" name="TextBox 74">
            <a:extLst>
              <a:ext uri="{FF2B5EF4-FFF2-40B4-BE49-F238E27FC236}">
                <a16:creationId xmlns:a16="http://schemas.microsoft.com/office/drawing/2014/main" id="{18A9ADC1-D9FD-4EB2-A6D2-7F40CCE98824}"/>
              </a:ext>
            </a:extLst>
          </p:cNvPr>
          <p:cNvSpPr txBox="1"/>
          <p:nvPr/>
        </p:nvSpPr>
        <p:spPr>
          <a:xfrm>
            <a:off x="8265269" y="3859813"/>
            <a:ext cx="3236874" cy="671209"/>
          </a:xfrm>
          <a:prstGeom prst="rect">
            <a:avLst/>
          </a:prstGeom>
          <a:noFill/>
        </p:spPr>
        <p:txBody>
          <a:bodyPr wrap="square" rtlCol="0">
            <a:spAutoFit/>
          </a:bodyPr>
          <a:lstStyle/>
          <a:p>
            <a:pP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Multiple</a:t>
            </a:r>
            <a:r>
              <a:rPr lang="en-US" altLang="ko-KR" sz="3600" dirty="0">
                <a:solidFill>
                  <a:schemeClr val="bg1">
                    <a:lumMod val="95000"/>
                  </a:schemeClr>
                </a:solidFill>
                <a:ea typeface="맑은 고딕" panose="020B0503020000020004" pitchFamily="50" charset="-127"/>
                <a:cs typeface="Calibri" panose="020F0502020204030204" pitchFamily="34" charset="0"/>
              </a:rPr>
              <a:t> devices</a:t>
            </a:r>
          </a:p>
        </p:txBody>
      </p:sp>
      <p:sp>
        <p:nvSpPr>
          <p:cNvPr id="76" name="TextBox 75">
            <a:extLst>
              <a:ext uri="{FF2B5EF4-FFF2-40B4-BE49-F238E27FC236}">
                <a16:creationId xmlns:a16="http://schemas.microsoft.com/office/drawing/2014/main" id="{93BD1F14-80FC-4E22-9BF5-BBA33C01A281}"/>
              </a:ext>
            </a:extLst>
          </p:cNvPr>
          <p:cNvSpPr txBox="1"/>
          <p:nvPr/>
        </p:nvSpPr>
        <p:spPr>
          <a:xfrm>
            <a:off x="8265269" y="5307629"/>
            <a:ext cx="3236874" cy="606897"/>
          </a:xfrm>
          <a:prstGeom prst="rect">
            <a:avLst/>
          </a:prstGeom>
          <a:noFill/>
        </p:spPr>
        <p:txBody>
          <a:bodyPr wrap="square" rtlCol="0">
            <a:spAutoFit/>
          </a:bodyPr>
          <a:lstStyle/>
          <a:p>
            <a:pP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SEO</a:t>
            </a:r>
          </a:p>
        </p:txBody>
      </p:sp>
      <p:pic>
        <p:nvPicPr>
          <p:cNvPr id="41" name="Picture 40">
            <a:extLst>
              <a:ext uri="{FF2B5EF4-FFF2-40B4-BE49-F238E27FC236}">
                <a16:creationId xmlns:a16="http://schemas.microsoft.com/office/drawing/2014/main" id="{B95A63E5-970F-7341-BB50-C55E99E6DE24}"/>
              </a:ext>
            </a:extLst>
          </p:cNvPr>
          <p:cNvPicPr>
            <a:picLocks noChangeAspect="1"/>
          </p:cNvPicPr>
          <p:nvPr/>
        </p:nvPicPr>
        <p:blipFill>
          <a:blip r:embed="rId7"/>
          <a:stretch>
            <a:fillRect/>
          </a:stretch>
        </p:blipFill>
        <p:spPr>
          <a:xfrm>
            <a:off x="5539573" y="4010404"/>
            <a:ext cx="1112854" cy="418746"/>
          </a:xfrm>
          <a:prstGeom prst="rect">
            <a:avLst/>
          </a:prstGeom>
        </p:spPr>
      </p:pic>
      <p:sp>
        <p:nvSpPr>
          <p:cNvPr id="37" name="Rectangle 36">
            <a:extLst>
              <a:ext uri="{FF2B5EF4-FFF2-40B4-BE49-F238E27FC236}">
                <a16:creationId xmlns:a16="http://schemas.microsoft.com/office/drawing/2014/main" id="{69B00B02-9948-D243-BFE7-C5B4B2B573D1}"/>
              </a:ext>
            </a:extLst>
          </p:cNvPr>
          <p:cNvSpPr/>
          <p:nvPr/>
        </p:nvSpPr>
        <p:spPr>
          <a:xfrm>
            <a:off x="-3570960" y="-1877102"/>
            <a:ext cx="6679920" cy="646331"/>
          </a:xfrm>
          <a:prstGeom prst="rect">
            <a:avLst/>
          </a:prstGeom>
        </p:spPr>
        <p:txBody>
          <a:bodyPr wrap="square">
            <a:spAutoFit/>
          </a:bodyPr>
          <a:lstStyle/>
          <a:p>
            <a:br>
              <a:rPr lang="en-US" dirty="0">
                <a:solidFill>
                  <a:schemeClr val="bg1"/>
                </a:solidFill>
              </a:rPr>
            </a:br>
            <a:endParaRPr lang="en-US" dirty="0">
              <a:solidFill>
                <a:schemeClr val="bg1"/>
              </a:solidFill>
            </a:endParaRPr>
          </a:p>
        </p:txBody>
      </p:sp>
    </p:spTree>
    <p:extLst>
      <p:ext uri="{BB962C8B-B14F-4D97-AF65-F5344CB8AC3E}">
        <p14:creationId xmlns:p14="http://schemas.microsoft.com/office/powerpoint/2010/main" val="1862572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4"/>
                                        </p:tgtEl>
                                        <p:attrNameLst>
                                          <p:attrName>style.visibility</p:attrName>
                                        </p:attrNameLst>
                                      </p:cBhvr>
                                      <p:to>
                                        <p:strVal val="visible"/>
                                      </p:to>
                                    </p:set>
                                    <p:animEffect transition="in" filter="fade">
                                      <p:cBhvr>
                                        <p:cTn id="10" dur="500"/>
                                        <p:tgtEl>
                                          <p:spTgt spid="4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animEffect transition="in" filter="fade">
                                      <p:cBhvr>
                                        <p:cTn id="13" dur="500"/>
                                        <p:tgtEl>
                                          <p:spTgt spid="43"/>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2"/>
                                        </p:tgtEl>
                                        <p:attrNameLst>
                                          <p:attrName>style.visibility</p:attrName>
                                        </p:attrNameLst>
                                      </p:cBhvr>
                                      <p:to>
                                        <p:strVal val="visible"/>
                                      </p:to>
                                    </p:set>
                                    <p:animEffect transition="in" filter="fade">
                                      <p:cBhvr>
                                        <p:cTn id="16" dur="500"/>
                                        <p:tgtEl>
                                          <p:spTgt spid="7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2"/>
                                        </p:tgtEl>
                                        <p:attrNameLst>
                                          <p:attrName>style.visibility</p:attrName>
                                        </p:attrNameLst>
                                      </p:cBhvr>
                                      <p:to>
                                        <p:strVal val="visible"/>
                                      </p:to>
                                    </p:set>
                                    <p:animEffect transition="in" filter="fade">
                                      <p:cBhvr>
                                        <p:cTn id="21" dur="500"/>
                                        <p:tgtEl>
                                          <p:spTgt spid="22"/>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1"/>
                                        </p:tgtEl>
                                        <p:attrNameLst>
                                          <p:attrName>style.visibility</p:attrName>
                                        </p:attrNameLst>
                                      </p:cBhvr>
                                      <p:to>
                                        <p:strVal val="visible"/>
                                      </p:to>
                                    </p:set>
                                    <p:animEffect transition="in" filter="fade">
                                      <p:cBhvr>
                                        <p:cTn id="30" dur="500"/>
                                        <p:tgtEl>
                                          <p:spTgt spid="7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6"/>
                                        </p:tgtEl>
                                        <p:attrNameLst>
                                          <p:attrName>style.visibility</p:attrName>
                                        </p:attrNameLst>
                                      </p:cBhvr>
                                      <p:to>
                                        <p:strVal val="visible"/>
                                      </p:to>
                                    </p:set>
                                    <p:animEffect transition="in" filter="fade">
                                      <p:cBhvr>
                                        <p:cTn id="35" dur="500"/>
                                        <p:tgtEl>
                                          <p:spTgt spid="26"/>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74"/>
                                        </p:tgtEl>
                                        <p:attrNameLst>
                                          <p:attrName>style.visibility</p:attrName>
                                        </p:attrNameLst>
                                      </p:cBhvr>
                                      <p:to>
                                        <p:strVal val="visible"/>
                                      </p:to>
                                    </p:set>
                                    <p:animEffect transition="in" filter="fade">
                                      <p:cBhvr>
                                        <p:cTn id="44" dur="500"/>
                                        <p:tgtEl>
                                          <p:spTgt spid="74"/>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30"/>
                                        </p:tgtEl>
                                        <p:attrNameLst>
                                          <p:attrName>style.visibility</p:attrName>
                                        </p:attrNameLst>
                                      </p:cBhvr>
                                      <p:to>
                                        <p:strVal val="visible"/>
                                      </p:to>
                                    </p:set>
                                    <p:animEffect transition="in" filter="fade">
                                      <p:cBhvr>
                                        <p:cTn id="49" dur="500"/>
                                        <p:tgtEl>
                                          <p:spTgt spid="30"/>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31"/>
                                        </p:tgtEl>
                                        <p:attrNameLst>
                                          <p:attrName>style.visibility</p:attrName>
                                        </p:attrNameLst>
                                      </p:cBhvr>
                                      <p:to>
                                        <p:strVal val="visible"/>
                                      </p:to>
                                    </p:set>
                                    <p:animEffect transition="in" filter="fade">
                                      <p:cBhvr>
                                        <p:cTn id="52" dur="500"/>
                                        <p:tgtEl>
                                          <p:spTgt spid="31"/>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32"/>
                                        </p:tgtEl>
                                        <p:attrNameLst>
                                          <p:attrName>style.visibility</p:attrName>
                                        </p:attrNameLst>
                                      </p:cBhvr>
                                      <p:to>
                                        <p:strVal val="visible"/>
                                      </p:to>
                                    </p:set>
                                    <p:animEffect transition="in" filter="fade">
                                      <p:cBhvr>
                                        <p:cTn id="55" dur="500"/>
                                        <p:tgtEl>
                                          <p:spTgt spid="32"/>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75"/>
                                        </p:tgtEl>
                                        <p:attrNameLst>
                                          <p:attrName>style.visibility</p:attrName>
                                        </p:attrNameLst>
                                      </p:cBhvr>
                                      <p:to>
                                        <p:strVal val="visible"/>
                                      </p:to>
                                    </p:set>
                                    <p:animEffect transition="in" filter="fade">
                                      <p:cBhvr>
                                        <p:cTn id="58" dur="500"/>
                                        <p:tgtEl>
                                          <p:spTgt spid="7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4"/>
                                        </p:tgtEl>
                                        <p:attrNameLst>
                                          <p:attrName>style.visibility</p:attrName>
                                        </p:attrNameLst>
                                      </p:cBhvr>
                                      <p:to>
                                        <p:strVal val="visible"/>
                                      </p:to>
                                    </p:set>
                                    <p:animEffect transition="in" filter="fade">
                                      <p:cBhvr>
                                        <p:cTn id="63" dur="500"/>
                                        <p:tgtEl>
                                          <p:spTgt spid="34"/>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35"/>
                                        </p:tgtEl>
                                        <p:attrNameLst>
                                          <p:attrName>style.visibility</p:attrName>
                                        </p:attrNameLst>
                                      </p:cBhvr>
                                      <p:to>
                                        <p:strVal val="visible"/>
                                      </p:to>
                                    </p:set>
                                    <p:animEffect transition="in" filter="fade">
                                      <p:cBhvr>
                                        <p:cTn id="66" dur="500"/>
                                        <p:tgtEl>
                                          <p:spTgt spid="35"/>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76"/>
                                        </p:tgtEl>
                                        <p:attrNameLst>
                                          <p:attrName>style.visibility</p:attrName>
                                        </p:attrNameLst>
                                      </p:cBhvr>
                                      <p:to>
                                        <p:strVal val="visible"/>
                                      </p:to>
                                    </p:set>
                                    <p:animEffect transition="in" filter="fade">
                                      <p:cBhvr>
                                        <p:cTn id="72" dur="500"/>
                                        <p:tgtEl>
                                          <p:spTgt spid="76"/>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8"/>
                                        </p:tgtEl>
                                        <p:attrNameLst>
                                          <p:attrName>style.visibility</p:attrName>
                                        </p:attrNameLst>
                                      </p:cBhvr>
                                      <p:to>
                                        <p:strVal val="visible"/>
                                      </p:to>
                                    </p:set>
                                    <p:animEffect transition="in" filter="fade">
                                      <p:cBhvr>
                                        <p:cTn id="77" dur="500"/>
                                        <p:tgtEl>
                                          <p:spTgt spid="38"/>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39"/>
                                        </p:tgtEl>
                                        <p:attrNameLst>
                                          <p:attrName>style.visibility</p:attrName>
                                        </p:attrNameLst>
                                      </p:cBhvr>
                                      <p:to>
                                        <p:strVal val="visible"/>
                                      </p:to>
                                    </p:set>
                                    <p:animEffect transition="in" filter="fade">
                                      <p:cBhvr>
                                        <p:cTn id="80" dur="500"/>
                                        <p:tgtEl>
                                          <p:spTgt spid="39"/>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0"/>
                                        </p:tgtEl>
                                        <p:attrNameLst>
                                          <p:attrName>style.visibility</p:attrName>
                                        </p:attrNameLst>
                                      </p:cBhvr>
                                      <p:to>
                                        <p:strVal val="visible"/>
                                      </p:to>
                                    </p:set>
                                    <p:animEffect transition="in" filter="fade">
                                      <p:cBhvr>
                                        <p:cTn id="83" dur="500"/>
                                        <p:tgtEl>
                                          <p:spTgt spid="40"/>
                                        </p:tgtEl>
                                      </p:cBhvr>
                                    </p:animEffect>
                                  </p:childTnLst>
                                </p:cTn>
                              </p:par>
                              <p:par>
                                <p:cTn id="84" presetID="10" presetClass="entr" presetSubtype="0" fill="hold" grpId="0" nodeType="withEffect">
                                  <p:stCondLst>
                                    <p:cond delay="0"/>
                                  </p:stCondLst>
                                  <p:childTnLst>
                                    <p:set>
                                      <p:cBhvr>
                                        <p:cTn id="85" dur="1" fill="hold">
                                          <p:stCondLst>
                                            <p:cond delay="0"/>
                                          </p:stCondLst>
                                        </p:cTn>
                                        <p:tgtEl>
                                          <p:spTgt spid="73"/>
                                        </p:tgtEl>
                                        <p:attrNameLst>
                                          <p:attrName>style.visibility</p:attrName>
                                        </p:attrNameLst>
                                      </p:cBhvr>
                                      <p:to>
                                        <p:strVal val="visible"/>
                                      </p:to>
                                    </p:set>
                                    <p:animEffect transition="in" filter="fade">
                                      <p:cBhvr>
                                        <p:cTn id="86" dur="5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22" grpId="0" animBg="1"/>
      <p:bldP spid="23" grpId="0" animBg="1"/>
      <p:bldP spid="24" grpId="0"/>
      <p:bldP spid="26" grpId="0" animBg="1"/>
      <p:bldP spid="27" grpId="0" animBg="1"/>
      <p:bldP spid="28" grpId="0"/>
      <p:bldP spid="30" grpId="0" animBg="1"/>
      <p:bldP spid="31" grpId="0" animBg="1"/>
      <p:bldP spid="32" grpId="0"/>
      <p:bldP spid="34" grpId="0" animBg="1"/>
      <p:bldP spid="35" grpId="0" animBg="1"/>
      <p:bldP spid="36" grpId="0"/>
      <p:bldP spid="38" grpId="0" animBg="1"/>
      <p:bldP spid="39" grpId="0" animBg="1"/>
      <p:bldP spid="40" grpId="0"/>
      <p:bldP spid="42" grpId="0" animBg="1"/>
      <p:bldP spid="44" grpId="0"/>
      <p:bldP spid="71" grpId="0"/>
      <p:bldP spid="72" grpId="0"/>
      <p:bldP spid="73" grpId="0"/>
      <p:bldP spid="74" grpId="0"/>
      <p:bldP spid="75" grpId="0"/>
      <p:bldP spid="7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extLst>
              <p:ext uri="{D42A27DB-BD31-4B8C-83A1-F6EECF244321}">
                <p14:modId xmlns:p14="http://schemas.microsoft.com/office/powerpoint/2010/main" val="349582562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778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4763"/>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srgbClr>
                </a:gs>
                <a:gs pos="100000">
                  <a:srgbClr val="3E8E86">
                    <a:alpha val="60000"/>
                  </a:srgbClr>
                </a:gs>
                <a:gs pos="56000">
                  <a:srgbClr val="2B2D78">
                    <a:alpha val="6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39" name="그룹 38"/>
          <p:cNvGrpSpPr/>
          <p:nvPr/>
        </p:nvGrpSpPr>
        <p:grpSpPr>
          <a:xfrm>
            <a:off x="4606421" y="2670626"/>
            <a:ext cx="2979158" cy="1508105"/>
            <a:chOff x="4718488" y="2643003"/>
            <a:chExt cx="2979158" cy="1508105"/>
          </a:xfrm>
        </p:grpSpPr>
        <p:sp>
          <p:nvSpPr>
            <p:cNvPr id="36" name="TextBox 35"/>
            <p:cNvSpPr txBox="1"/>
            <p:nvPr/>
          </p:nvSpPr>
          <p:spPr>
            <a:xfrm>
              <a:off x="4718488" y="2643003"/>
              <a:ext cx="2979158" cy="1508105"/>
            </a:xfrm>
            <a:prstGeom prst="rect">
              <a:avLst/>
            </a:prstGeom>
            <a:noFill/>
          </p:spPr>
          <p:txBody>
            <a:bodyPr wrap="square" rtlCol="0">
              <a:spAutoFit/>
            </a:bodyPr>
            <a:lstStyle/>
            <a:p>
              <a:pPr algn="ctr"/>
              <a:r>
                <a:rPr lang="en-US" altLang="ko-KR" sz="3600" b="1"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Mobile</a:t>
              </a:r>
              <a:br>
                <a:rPr lang="en-US" altLang="ko-KR" sz="3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br>
              <a:r>
                <a:rPr lang="en-US" altLang="ko-KR" sz="20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or</a:t>
              </a:r>
              <a:br>
                <a:rPr lang="en-US" altLang="ko-KR" sz="3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br>
              <a:r>
                <a:rPr lang="en-US" altLang="ko-KR" sz="3600" b="1"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PC?</a:t>
              </a:r>
            </a:p>
          </p:txBody>
        </p:sp>
        <p:sp>
          <p:nvSpPr>
            <p:cNvPr id="38" name="TextBox 37"/>
            <p:cNvSpPr txBox="1"/>
            <p:nvPr/>
          </p:nvSpPr>
          <p:spPr>
            <a:xfrm>
              <a:off x="4870865" y="3140736"/>
              <a:ext cx="2487293" cy="204864"/>
            </a:xfrm>
            <a:prstGeom prst="rect">
              <a:avLst/>
            </a:prstGeom>
            <a:noFill/>
          </p:spPr>
          <p:txBody>
            <a:bodyPr wrap="square" rtlCol="0">
              <a:spAutoFit/>
            </a:bodyPr>
            <a:lstStyle/>
            <a:p>
              <a:pPr algn="ctr">
                <a:lnSpc>
                  <a:spcPct val="110000"/>
                </a:lnSpc>
              </a:pPr>
              <a:endParaRPr lang="en-US" altLang="ko-KR" sz="700" dirty="0">
                <a:solidFill>
                  <a:schemeClr val="bg1"/>
                </a:solidFill>
                <a:ea typeface="맑은 고딕" panose="020B0503020000020004" pitchFamily="50" charset="-127"/>
                <a:cs typeface="Calibri" panose="020F0502020204030204" pitchFamily="34" charset="0"/>
              </a:endParaRPr>
            </a:p>
          </p:txBody>
        </p: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328126AB-FEFD-DD4A-9B31-614AC569A946}"/>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6484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childTnLst>
                          </p:cTn>
                        </p:par>
                        <p:par>
                          <p:cTn id="11" fill="hold">
                            <p:stCondLst>
                              <p:cond delay="500"/>
                            </p:stCondLst>
                            <p:childTnLst>
                              <p:par>
                                <p:cTn id="12" presetID="10"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500"/>
                                        <p:tgtEl>
                                          <p:spTgt spid="13"/>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20"/>
                                        </p:tgtEl>
                                        <p:attrNameLst>
                                          <p:attrName>style.visibility</p:attrName>
                                        </p:attrNameLst>
                                      </p:cBhvr>
                                      <p:to>
                                        <p:strVal val="visible"/>
                                      </p:to>
                                    </p:set>
                                    <p:animEffect transition="in" filter="fade">
                                      <p:cBhvr>
                                        <p:cTn id="21"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3" grpId="0" animBg="1"/>
      <p:bldP spid="19" grpId="0" animBg="1"/>
      <p:bldP spid="20" grpId="0" animBg="1"/>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73C84C5A-3B0E-194C-9D7D-58FA76DCD566}"/>
              </a:ext>
            </a:extLst>
          </p:cNvPr>
          <p:cNvGraphicFramePr>
            <a:graphicFrameLocks noChangeAspect="1"/>
          </p:cNvGraphicFramePr>
          <p:nvPr>
            <p:custDataLst>
              <p:tags r:id="rId2"/>
            </p:custDataLst>
            <p:extLst>
              <p:ext uri="{D42A27DB-BD31-4B8C-83A1-F6EECF244321}">
                <p14:modId xmlns:p14="http://schemas.microsoft.com/office/powerpoint/2010/main" val="2340913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904"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5710B969-44C0-4349-8DFB-970AACB2CFE3}"/>
              </a:ext>
            </a:extLst>
          </p:cNvPr>
          <p:cNvSpPr>
            <a:spLocks noGrp="1"/>
          </p:cNvSpPr>
          <p:nvPr>
            <p:ph type="title"/>
          </p:nvPr>
        </p:nvSpPr>
        <p:spPr/>
        <p:txBody>
          <a:bodyPr vert="horz"/>
          <a:lstStyle/>
          <a:p>
            <a:r>
              <a:rPr lang="en-US" altLang="ko-KR" dirty="0"/>
              <a:t>TRADEOFFS</a:t>
            </a:r>
            <a:endParaRPr lang="ko-KR" altLang="en-US" dirty="0"/>
          </a:p>
        </p:txBody>
      </p:sp>
      <p:sp>
        <p:nvSpPr>
          <p:cNvPr id="3" name="막힌 원호 2">
            <a:extLst>
              <a:ext uri="{FF2B5EF4-FFF2-40B4-BE49-F238E27FC236}">
                <a16:creationId xmlns:a16="http://schemas.microsoft.com/office/drawing/2014/main" id="{9BEE470A-17C9-4458-9597-4021BBB8C1E2}"/>
              </a:ext>
            </a:extLst>
          </p:cNvPr>
          <p:cNvSpPr/>
          <p:nvPr/>
        </p:nvSpPr>
        <p:spPr>
          <a:xfrm flipV="1">
            <a:off x="1138657" y="2483843"/>
            <a:ext cx="3316881" cy="3316882"/>
          </a:xfrm>
          <a:prstGeom prst="blockArc">
            <a:avLst>
              <a:gd name="adj1" fmla="val 10800000"/>
              <a:gd name="adj2" fmla="val 20771"/>
              <a:gd name="adj3" fmla="val 688"/>
            </a:avLst>
          </a:prstGeom>
          <a:solidFill>
            <a:schemeClr val="accent1"/>
          </a:solidFill>
          <a:ln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4" name="막힌 원호 3">
            <a:extLst>
              <a:ext uri="{FF2B5EF4-FFF2-40B4-BE49-F238E27FC236}">
                <a16:creationId xmlns:a16="http://schemas.microsoft.com/office/drawing/2014/main" id="{036073F0-E60F-4C34-828C-EDD010D9DFBD}"/>
              </a:ext>
            </a:extLst>
          </p:cNvPr>
          <p:cNvSpPr/>
          <p:nvPr/>
        </p:nvSpPr>
        <p:spPr>
          <a:xfrm>
            <a:off x="1138657" y="2483843"/>
            <a:ext cx="3316881" cy="3316882"/>
          </a:xfrm>
          <a:prstGeom prst="blockArc">
            <a:avLst>
              <a:gd name="adj1" fmla="val 10800000"/>
              <a:gd name="adj2" fmla="val 21564952"/>
              <a:gd name="adj3" fmla="val 4496"/>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막힌 원호 4">
            <a:extLst>
              <a:ext uri="{FF2B5EF4-FFF2-40B4-BE49-F238E27FC236}">
                <a16:creationId xmlns:a16="http://schemas.microsoft.com/office/drawing/2014/main" id="{0DC8042E-23C9-41A6-A282-E4AC01549E3A}"/>
              </a:ext>
            </a:extLst>
          </p:cNvPr>
          <p:cNvSpPr/>
          <p:nvPr/>
        </p:nvSpPr>
        <p:spPr>
          <a:xfrm rot="10800000" flipV="1">
            <a:off x="4455538" y="2483843"/>
            <a:ext cx="3316881" cy="3316882"/>
          </a:xfrm>
          <a:prstGeom prst="blockArc">
            <a:avLst>
              <a:gd name="adj1" fmla="val 10800000"/>
              <a:gd name="adj2" fmla="val 20771"/>
              <a:gd name="adj3" fmla="val 688"/>
            </a:avLst>
          </a:prstGeom>
          <a:solidFill>
            <a:schemeClr val="accent2"/>
          </a:solidFill>
          <a:ln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6" name="막힌 원호 5">
            <a:extLst>
              <a:ext uri="{FF2B5EF4-FFF2-40B4-BE49-F238E27FC236}">
                <a16:creationId xmlns:a16="http://schemas.microsoft.com/office/drawing/2014/main" id="{BFCD4D43-14D0-4136-8D99-289D111A01B7}"/>
              </a:ext>
            </a:extLst>
          </p:cNvPr>
          <p:cNvSpPr/>
          <p:nvPr/>
        </p:nvSpPr>
        <p:spPr>
          <a:xfrm rot="10800000">
            <a:off x="4455538" y="2483843"/>
            <a:ext cx="3316881" cy="3316882"/>
          </a:xfrm>
          <a:prstGeom prst="blockArc">
            <a:avLst>
              <a:gd name="adj1" fmla="val 10800000"/>
              <a:gd name="adj2" fmla="val 21564952"/>
              <a:gd name="adj3" fmla="val 4496"/>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막힌 원호 6">
            <a:extLst>
              <a:ext uri="{FF2B5EF4-FFF2-40B4-BE49-F238E27FC236}">
                <a16:creationId xmlns:a16="http://schemas.microsoft.com/office/drawing/2014/main" id="{BB222AEF-48D0-41C3-B97E-B0DCDBA95F7D}"/>
              </a:ext>
            </a:extLst>
          </p:cNvPr>
          <p:cNvSpPr/>
          <p:nvPr/>
        </p:nvSpPr>
        <p:spPr>
          <a:xfrm flipV="1">
            <a:off x="7772420" y="2483843"/>
            <a:ext cx="3316881" cy="3316882"/>
          </a:xfrm>
          <a:prstGeom prst="blockArc">
            <a:avLst>
              <a:gd name="adj1" fmla="val 10800000"/>
              <a:gd name="adj2" fmla="val 20771"/>
              <a:gd name="adj3" fmla="val 688"/>
            </a:avLst>
          </a:prstGeom>
          <a:solidFill>
            <a:schemeClr val="accent3"/>
          </a:solidFill>
          <a:ln cap="sq">
            <a:noFill/>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
        <p:nvSpPr>
          <p:cNvPr id="8" name="막힌 원호 7">
            <a:extLst>
              <a:ext uri="{FF2B5EF4-FFF2-40B4-BE49-F238E27FC236}">
                <a16:creationId xmlns:a16="http://schemas.microsoft.com/office/drawing/2014/main" id="{415AFE96-9784-4254-8F57-A00553DDFC34}"/>
              </a:ext>
            </a:extLst>
          </p:cNvPr>
          <p:cNvSpPr/>
          <p:nvPr/>
        </p:nvSpPr>
        <p:spPr>
          <a:xfrm>
            <a:off x="7772420" y="2483843"/>
            <a:ext cx="3316881" cy="3316882"/>
          </a:xfrm>
          <a:prstGeom prst="blockArc">
            <a:avLst>
              <a:gd name="adj1" fmla="val 10800000"/>
              <a:gd name="adj2" fmla="val 21564952"/>
              <a:gd name="adj3" fmla="val 4496"/>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5" name="TextBox 44">
            <a:extLst>
              <a:ext uri="{FF2B5EF4-FFF2-40B4-BE49-F238E27FC236}">
                <a16:creationId xmlns:a16="http://schemas.microsoft.com/office/drawing/2014/main" id="{4DD4F0BE-EE51-4C28-80F0-BC4CBCBA5EB1}"/>
              </a:ext>
            </a:extLst>
          </p:cNvPr>
          <p:cNvSpPr txBox="1"/>
          <p:nvPr/>
        </p:nvSpPr>
        <p:spPr>
          <a:xfrm>
            <a:off x="4986190" y="3950701"/>
            <a:ext cx="2399000" cy="1016560"/>
          </a:xfrm>
          <a:prstGeom prst="rect">
            <a:avLst/>
          </a:prstGeom>
          <a:noFill/>
        </p:spPr>
        <p:txBody>
          <a:bodyPr wrap="square" rtlCol="0">
            <a:spAutoFit/>
          </a:bodyPr>
          <a:lstStyle/>
          <a:p>
            <a:pPr algn="ctr">
              <a:lnSpc>
                <a:spcPct val="110000"/>
              </a:lnSpc>
            </a:pPr>
            <a:r>
              <a:rPr lang="en-US" altLang="ko-KR" sz="2800" dirty="0">
                <a:solidFill>
                  <a:schemeClr val="bg1">
                    <a:lumMod val="95000"/>
                  </a:schemeClr>
                </a:solidFill>
                <a:ea typeface="맑은 고딕" panose="020B0503020000020004" pitchFamily="50" charset="-127"/>
                <a:cs typeface="Calibri" panose="020F0502020204030204" pitchFamily="34" charset="0"/>
              </a:rPr>
              <a:t>Hardware components</a:t>
            </a:r>
          </a:p>
        </p:txBody>
      </p:sp>
      <p:sp>
        <p:nvSpPr>
          <p:cNvPr id="46" name="TextBox 45">
            <a:extLst>
              <a:ext uri="{FF2B5EF4-FFF2-40B4-BE49-F238E27FC236}">
                <a16:creationId xmlns:a16="http://schemas.microsoft.com/office/drawing/2014/main" id="{B3C7D3D8-D779-4DAA-B508-987F5B082843}"/>
              </a:ext>
            </a:extLst>
          </p:cNvPr>
          <p:cNvSpPr txBox="1"/>
          <p:nvPr/>
        </p:nvSpPr>
        <p:spPr>
          <a:xfrm>
            <a:off x="1647667" y="3950701"/>
            <a:ext cx="2399000" cy="1016560"/>
          </a:xfrm>
          <a:prstGeom prst="rect">
            <a:avLst/>
          </a:prstGeom>
          <a:noFill/>
        </p:spPr>
        <p:txBody>
          <a:bodyPr wrap="square" rtlCol="0">
            <a:spAutoFit/>
          </a:bodyPr>
          <a:lstStyle/>
          <a:p>
            <a:pPr algn="ctr">
              <a:lnSpc>
                <a:spcPct val="110000"/>
              </a:lnSpc>
            </a:pPr>
            <a:r>
              <a:rPr lang="en-US" altLang="ko-KR" sz="2800" dirty="0">
                <a:solidFill>
                  <a:schemeClr val="bg1">
                    <a:lumMod val="95000"/>
                  </a:schemeClr>
                </a:solidFill>
                <a:ea typeface="맑은 고딕" panose="020B0503020000020004" pitchFamily="50" charset="-127"/>
                <a:cs typeface="Calibri" panose="020F0502020204030204" pitchFamily="34" charset="0"/>
              </a:rPr>
              <a:t>Notification on iPhones</a:t>
            </a:r>
          </a:p>
        </p:txBody>
      </p:sp>
      <p:sp>
        <p:nvSpPr>
          <p:cNvPr id="47" name="TextBox 46">
            <a:extLst>
              <a:ext uri="{FF2B5EF4-FFF2-40B4-BE49-F238E27FC236}">
                <a16:creationId xmlns:a16="http://schemas.microsoft.com/office/drawing/2014/main" id="{E02D66E1-704A-4CB2-9C7E-973697C2074D}"/>
              </a:ext>
            </a:extLst>
          </p:cNvPr>
          <p:cNvSpPr txBox="1"/>
          <p:nvPr/>
        </p:nvSpPr>
        <p:spPr>
          <a:xfrm>
            <a:off x="8324713" y="3950701"/>
            <a:ext cx="2399000" cy="1016560"/>
          </a:xfrm>
          <a:prstGeom prst="rect">
            <a:avLst/>
          </a:prstGeom>
          <a:noFill/>
        </p:spPr>
        <p:txBody>
          <a:bodyPr wrap="square" rtlCol="0">
            <a:spAutoFit/>
          </a:bodyPr>
          <a:lstStyle/>
          <a:p>
            <a:pPr algn="ctr">
              <a:lnSpc>
                <a:spcPct val="110000"/>
              </a:lnSpc>
            </a:pPr>
            <a:r>
              <a:rPr lang="en-US" altLang="ko-KR" sz="2800" dirty="0">
                <a:solidFill>
                  <a:schemeClr val="bg1">
                    <a:lumMod val="95000"/>
                  </a:schemeClr>
                </a:solidFill>
                <a:ea typeface="맑은 고딕" panose="020B0503020000020004" pitchFamily="50" charset="-127"/>
                <a:cs typeface="Calibri" panose="020F0502020204030204" pitchFamily="34" charset="0"/>
              </a:rPr>
              <a:t>Customer Awareness</a:t>
            </a:r>
          </a:p>
        </p:txBody>
      </p:sp>
      <p:sp>
        <p:nvSpPr>
          <p:cNvPr id="48" name="TextBox 47">
            <a:extLst>
              <a:ext uri="{FF2B5EF4-FFF2-40B4-BE49-F238E27FC236}">
                <a16:creationId xmlns:a16="http://schemas.microsoft.com/office/drawing/2014/main" id="{EA23F989-4BB3-4D67-AAEF-EAF1C968D6DE}"/>
              </a:ext>
            </a:extLst>
          </p:cNvPr>
          <p:cNvSpPr txBox="1"/>
          <p:nvPr/>
        </p:nvSpPr>
        <p:spPr>
          <a:xfrm>
            <a:off x="5485093" y="3149611"/>
            <a:ext cx="1219099" cy="628950"/>
          </a:xfrm>
          <a:prstGeom prst="rect">
            <a:avLst/>
          </a:prstGeom>
          <a:noFill/>
        </p:spPr>
        <p:txBody>
          <a:bodyPr wrap="square" rtlCol="0">
            <a:spAutoFit/>
          </a:bodyPr>
          <a:lstStyle/>
          <a:p>
            <a:pPr algn="ctr"/>
            <a:r>
              <a:rPr lang="en-US" altLang="ko-KR" sz="3200" spc="300" dirty="0">
                <a:solidFill>
                  <a:schemeClr val="bg1"/>
                </a:solidFill>
                <a:latin typeface="+mj-lt"/>
                <a:ea typeface="+mj-ea"/>
                <a:cs typeface="+mj-cs"/>
              </a:rPr>
              <a:t>B</a:t>
            </a:r>
            <a:endParaRPr lang="ko-KR" altLang="en-US" sz="3200" spc="300" dirty="0">
              <a:solidFill>
                <a:schemeClr val="bg1"/>
              </a:solidFill>
              <a:latin typeface="+mj-lt"/>
              <a:ea typeface="+mj-ea"/>
              <a:cs typeface="+mj-cs"/>
            </a:endParaRPr>
          </a:p>
        </p:txBody>
      </p:sp>
      <p:sp>
        <p:nvSpPr>
          <p:cNvPr id="49" name="TextBox 48">
            <a:extLst>
              <a:ext uri="{FF2B5EF4-FFF2-40B4-BE49-F238E27FC236}">
                <a16:creationId xmlns:a16="http://schemas.microsoft.com/office/drawing/2014/main" id="{455C2243-DFB7-4AD5-8965-09DCA083120D}"/>
              </a:ext>
            </a:extLst>
          </p:cNvPr>
          <p:cNvSpPr txBox="1"/>
          <p:nvPr/>
        </p:nvSpPr>
        <p:spPr>
          <a:xfrm>
            <a:off x="2168211" y="3149611"/>
            <a:ext cx="1219099" cy="628950"/>
          </a:xfrm>
          <a:prstGeom prst="rect">
            <a:avLst/>
          </a:prstGeom>
          <a:noFill/>
        </p:spPr>
        <p:txBody>
          <a:bodyPr wrap="square" rtlCol="0">
            <a:spAutoFit/>
          </a:bodyPr>
          <a:lstStyle/>
          <a:p>
            <a:pPr algn="ctr"/>
            <a:r>
              <a:rPr lang="en-US" altLang="ko-KR" sz="3200" spc="300" dirty="0">
                <a:solidFill>
                  <a:schemeClr val="bg1"/>
                </a:solidFill>
                <a:latin typeface="+mj-lt"/>
                <a:ea typeface="+mj-ea"/>
                <a:cs typeface="+mj-cs"/>
              </a:rPr>
              <a:t>A</a:t>
            </a:r>
            <a:endParaRPr lang="ko-KR" altLang="en-US" sz="3200" spc="300" dirty="0">
              <a:solidFill>
                <a:schemeClr val="bg1"/>
              </a:solidFill>
              <a:latin typeface="+mj-lt"/>
              <a:ea typeface="+mj-ea"/>
              <a:cs typeface="+mj-cs"/>
            </a:endParaRPr>
          </a:p>
        </p:txBody>
      </p:sp>
      <p:sp>
        <p:nvSpPr>
          <p:cNvPr id="50" name="TextBox 49">
            <a:extLst>
              <a:ext uri="{FF2B5EF4-FFF2-40B4-BE49-F238E27FC236}">
                <a16:creationId xmlns:a16="http://schemas.microsoft.com/office/drawing/2014/main" id="{D2FE6F25-4944-4EB8-B40D-A1B7AF40B3BC}"/>
              </a:ext>
            </a:extLst>
          </p:cNvPr>
          <p:cNvSpPr txBox="1"/>
          <p:nvPr/>
        </p:nvSpPr>
        <p:spPr>
          <a:xfrm>
            <a:off x="8801974" y="3149611"/>
            <a:ext cx="1219099" cy="628950"/>
          </a:xfrm>
          <a:prstGeom prst="rect">
            <a:avLst/>
          </a:prstGeom>
          <a:noFill/>
        </p:spPr>
        <p:txBody>
          <a:bodyPr wrap="square" rtlCol="0">
            <a:spAutoFit/>
          </a:bodyPr>
          <a:lstStyle/>
          <a:p>
            <a:pPr algn="ctr"/>
            <a:r>
              <a:rPr lang="en-US" altLang="ko-KR" sz="3200" spc="300" dirty="0">
                <a:solidFill>
                  <a:schemeClr val="bg1"/>
                </a:solidFill>
                <a:latin typeface="+mj-lt"/>
                <a:ea typeface="+mj-ea"/>
                <a:cs typeface="+mj-cs"/>
              </a:rPr>
              <a:t>C</a:t>
            </a:r>
            <a:endParaRPr lang="ko-KR" altLang="en-US" sz="3200" spc="300" dirty="0">
              <a:solidFill>
                <a:schemeClr val="bg1"/>
              </a:solidFill>
              <a:latin typeface="+mj-lt"/>
              <a:ea typeface="+mj-ea"/>
              <a:cs typeface="+mj-cs"/>
            </a:endParaRPr>
          </a:p>
        </p:txBody>
      </p:sp>
    </p:spTree>
    <p:extLst>
      <p:ext uri="{BB962C8B-B14F-4D97-AF65-F5344CB8AC3E}">
        <p14:creationId xmlns:p14="http://schemas.microsoft.com/office/powerpoint/2010/main" val="1646190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6"/>
                                        </p:tgtEl>
                                        <p:attrNameLst>
                                          <p:attrName>style.visibility</p:attrName>
                                        </p:attrNameLst>
                                      </p:cBhvr>
                                      <p:to>
                                        <p:strVal val="visible"/>
                                      </p:to>
                                    </p:set>
                                    <p:animEffect transition="in" filter="fade">
                                      <p:cBhvr>
                                        <p:cTn id="13" dur="500"/>
                                        <p:tgtEl>
                                          <p:spTgt spid="4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500"/>
                                        <p:tgtEl>
                                          <p:spTgt spid="49"/>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45"/>
                                        </p:tgtEl>
                                        <p:attrNameLst>
                                          <p:attrName>style.visibility</p:attrName>
                                        </p:attrNameLst>
                                      </p:cBhvr>
                                      <p:to>
                                        <p:strVal val="visible"/>
                                      </p:to>
                                    </p:set>
                                    <p:animEffect transition="in" filter="fade">
                                      <p:cBhvr>
                                        <p:cTn id="27" dur="500"/>
                                        <p:tgtEl>
                                          <p:spTgt spid="4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500"/>
                                        <p:tgtEl>
                                          <p:spTgt spid="48"/>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7"/>
                                        </p:tgtEl>
                                        <p:attrNameLst>
                                          <p:attrName>style.visibility</p:attrName>
                                        </p:attrNameLst>
                                      </p:cBhvr>
                                      <p:to>
                                        <p:strVal val="visible"/>
                                      </p:to>
                                    </p:set>
                                    <p:animEffect transition="in" filter="fade">
                                      <p:cBhvr>
                                        <p:cTn id="35" dur="500"/>
                                        <p:tgtEl>
                                          <p:spTgt spid="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fade">
                                      <p:cBhvr>
                                        <p:cTn id="38" dur="500"/>
                                        <p:tgtEl>
                                          <p:spTgt spid="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47"/>
                                        </p:tgtEl>
                                        <p:attrNameLst>
                                          <p:attrName>style.visibility</p:attrName>
                                        </p:attrNameLst>
                                      </p:cBhvr>
                                      <p:to>
                                        <p:strVal val="visible"/>
                                      </p:to>
                                    </p:set>
                                    <p:animEffect transition="in" filter="fade">
                                      <p:cBhvr>
                                        <p:cTn id="41" dur="500"/>
                                        <p:tgtEl>
                                          <p:spTgt spid="4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50"/>
                                        </p:tgtEl>
                                        <p:attrNameLst>
                                          <p:attrName>style.visibility</p:attrName>
                                        </p:attrNameLst>
                                      </p:cBhvr>
                                      <p:to>
                                        <p:strVal val="visible"/>
                                      </p:to>
                                    </p:set>
                                    <p:animEffect transition="in" filter="fade">
                                      <p:cBhvr>
                                        <p:cTn id="4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P spid="6" grpId="0" animBg="1"/>
      <p:bldP spid="7" grpId="0" animBg="1"/>
      <p:bldP spid="8" grpId="0" animBg="1"/>
      <p:bldP spid="45" grpId="0"/>
      <p:bldP spid="46" grpId="0"/>
      <p:bldP spid="47" grpId="0"/>
      <p:bldP spid="48" grpId="0"/>
      <p:bldP spid="49" grpId="0"/>
      <p:bldP spid="50" grpId="0"/>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C75A0C-E261-A346-80D7-F611B259A92A}"/>
              </a:ext>
            </a:extLst>
          </p:cNvPr>
          <p:cNvGraphicFramePr>
            <a:graphicFrameLocks noChangeAspect="1"/>
          </p:cNvGraphicFramePr>
          <p:nvPr>
            <p:custDataLst>
              <p:tags r:id="rId2"/>
            </p:custDataLst>
            <p:extLst>
              <p:ext uri="{D42A27DB-BD31-4B8C-83A1-F6EECF244321}">
                <p14:modId xmlns:p14="http://schemas.microsoft.com/office/powerpoint/2010/main" val="11463550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9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9439BC9C-8548-4AC9-BAAA-FE7D9C373D4D}"/>
              </a:ext>
            </a:extLst>
          </p:cNvPr>
          <p:cNvSpPr>
            <a:spLocks noGrp="1"/>
          </p:cNvSpPr>
          <p:nvPr>
            <p:ph type="title"/>
          </p:nvPr>
        </p:nvSpPr>
        <p:spPr>
          <a:xfrm>
            <a:off x="719300" y="228616"/>
            <a:ext cx="10397241" cy="977307"/>
          </a:xfrm>
        </p:spPr>
        <p:txBody>
          <a:bodyPr vert="horz"/>
          <a:lstStyle/>
          <a:p>
            <a:r>
              <a:rPr lang="en-US" altLang="ko-KR" dirty="0"/>
              <a:t>COMPARION TABLE</a:t>
            </a:r>
            <a:endParaRPr lang="ko-KR" altLang="en-US" dirty="0"/>
          </a:p>
        </p:txBody>
      </p:sp>
      <p:graphicFrame>
        <p:nvGraphicFramePr>
          <p:cNvPr id="4" name="표 7">
            <a:extLst>
              <a:ext uri="{FF2B5EF4-FFF2-40B4-BE49-F238E27FC236}">
                <a16:creationId xmlns:a16="http://schemas.microsoft.com/office/drawing/2014/main" id="{46EAC717-EFAF-4CD7-8CB3-420869CD6C69}"/>
              </a:ext>
            </a:extLst>
          </p:cNvPr>
          <p:cNvGraphicFramePr>
            <a:graphicFrameLocks noGrp="1"/>
          </p:cNvGraphicFramePr>
          <p:nvPr>
            <p:extLst>
              <p:ext uri="{D42A27DB-BD31-4B8C-83A1-F6EECF244321}">
                <p14:modId xmlns:p14="http://schemas.microsoft.com/office/powerpoint/2010/main" val="258608596"/>
              </p:ext>
            </p:extLst>
          </p:nvPr>
        </p:nvGraphicFramePr>
        <p:xfrm>
          <a:off x="867390" y="1089198"/>
          <a:ext cx="10457220" cy="5638800"/>
        </p:xfrm>
        <a:graphic>
          <a:graphicData uri="http://schemas.openxmlformats.org/drawingml/2006/table">
            <a:tbl>
              <a:tblPr firstRow="1" bandRow="1">
                <a:tableStyleId>{5C22544A-7EE6-4342-B048-85BDC9FD1C3A}</a:tableStyleId>
              </a:tblPr>
              <a:tblGrid>
                <a:gridCol w="2614305">
                  <a:extLst>
                    <a:ext uri="{9D8B030D-6E8A-4147-A177-3AD203B41FA5}">
                      <a16:colId xmlns:a16="http://schemas.microsoft.com/office/drawing/2014/main" val="3422475851"/>
                    </a:ext>
                  </a:extLst>
                </a:gridCol>
                <a:gridCol w="2614305">
                  <a:extLst>
                    <a:ext uri="{9D8B030D-6E8A-4147-A177-3AD203B41FA5}">
                      <a16:colId xmlns:a16="http://schemas.microsoft.com/office/drawing/2014/main" val="2024193455"/>
                    </a:ext>
                  </a:extLst>
                </a:gridCol>
                <a:gridCol w="2614305">
                  <a:extLst>
                    <a:ext uri="{9D8B030D-6E8A-4147-A177-3AD203B41FA5}">
                      <a16:colId xmlns:a16="http://schemas.microsoft.com/office/drawing/2014/main" val="2690602778"/>
                    </a:ext>
                  </a:extLst>
                </a:gridCol>
                <a:gridCol w="2614305">
                  <a:extLst>
                    <a:ext uri="{9D8B030D-6E8A-4147-A177-3AD203B41FA5}">
                      <a16:colId xmlns:a16="http://schemas.microsoft.com/office/drawing/2014/main" val="2264458233"/>
                    </a:ext>
                  </a:extLst>
                </a:gridCol>
              </a:tblGrid>
              <a:tr h="484332">
                <a:tc>
                  <a:txBody>
                    <a:bodyPr/>
                    <a:lstStyle/>
                    <a:p>
                      <a:pPr marL="0" algn="l" defTabSz="914400" rtl="0" eaLnBrk="1" latinLnBrk="1" hangingPunct="1"/>
                      <a:endParaRPr lang="ko-KR" altLang="en-US" sz="28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28575" cap="flat" cmpd="sng" algn="ctr">
                      <a:noFill/>
                      <a:prstDash val="solid"/>
                      <a:round/>
                      <a:headEnd type="none" w="med" len="med"/>
                      <a:tailEnd type="none" w="med" len="med"/>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altLang="ko-KR" sz="1600" kern="1200" noProof="0" dirty="0">
                          <a:solidFill>
                            <a:schemeClr val="bg1">
                              <a:lumMod val="95000"/>
                            </a:schemeClr>
                          </a:solidFill>
                          <a:latin typeface="+mn-lt"/>
                          <a:ea typeface="맑은 고딕" panose="020B0503020000020004" pitchFamily="50" charset="-127"/>
                          <a:cs typeface="Calibri" panose="020F0502020204030204" pitchFamily="34" charset="0"/>
                        </a:rPr>
                        <a:t>WEBSITE</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altLang="ko-KR" sz="1600" kern="1200" noProof="0" dirty="0">
                          <a:solidFill>
                            <a:schemeClr val="bg1">
                              <a:lumMod val="95000"/>
                            </a:schemeClr>
                          </a:solidFill>
                          <a:latin typeface="+mn-lt"/>
                          <a:ea typeface="맑은 고딕" panose="020B0503020000020004" pitchFamily="50" charset="-127"/>
                          <a:cs typeface="Calibri" panose="020F0502020204030204" pitchFamily="34" charset="0"/>
                        </a:rPr>
                        <a:t>NATIVE APP</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100000"/>
                        </a:lnSpc>
                        <a:spcBef>
                          <a:spcPts val="0"/>
                        </a:spcBef>
                        <a:spcAft>
                          <a:spcPts val="200"/>
                        </a:spcAft>
                        <a:buClrTx/>
                        <a:buSzTx/>
                        <a:buFontTx/>
                        <a:buNone/>
                        <a:tabLst/>
                        <a:defRPr/>
                      </a:pPr>
                      <a:r>
                        <a:rPr lang="en-US" altLang="ko-KR" sz="1600" kern="1200" noProof="0" dirty="0">
                          <a:solidFill>
                            <a:schemeClr val="bg1">
                              <a:lumMod val="95000"/>
                            </a:schemeClr>
                          </a:solidFill>
                          <a:latin typeface="+mn-lt"/>
                          <a:ea typeface="맑은 고딕" panose="020B0503020000020004" pitchFamily="50" charset="-127"/>
                          <a:cs typeface="Calibri" panose="020F0502020204030204" pitchFamily="34" charset="0"/>
                        </a:rPr>
                        <a:t>PWA</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500586994"/>
                  </a:ext>
                </a:extLst>
              </a:tr>
              <a:tr h="320092">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sz="1800" dirty="0">
                          <a:solidFill>
                            <a:schemeClr val="bg1"/>
                          </a:solidFill>
                          <a:latin typeface="Dubai" panose="020B0503030403030204" pitchFamily="34" charset="-78"/>
                          <a:cs typeface="Dubai" panose="020B0503030403030204" pitchFamily="34" charset="-78"/>
                        </a:rPr>
                        <a:t>No Download</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34814448"/>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No Update</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66894992"/>
                  </a:ext>
                </a:extLst>
              </a:tr>
              <a:tr h="320092">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sz="1800" dirty="0">
                          <a:solidFill>
                            <a:schemeClr val="bg1"/>
                          </a:solidFill>
                          <a:effectLst/>
                        </a:rPr>
                        <a:t>No Store fees</a:t>
                      </a:r>
                      <a:endParaRPr lang="en-US" sz="1800" dirty="0">
                        <a:solidFill>
                          <a:schemeClr val="bg1"/>
                        </a:solidFill>
                        <a:latin typeface="Dubai" panose="020B0503030403030204" pitchFamily="34" charset="-78"/>
                        <a:cs typeface="Dubai" panose="020B0503030403030204" pitchFamily="34" charset="-78"/>
                      </a:endParaRP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94083572"/>
                  </a:ext>
                </a:extLst>
              </a:tr>
              <a:tr h="320092">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altLang="ko-KR" sz="1800" kern="1200" noProof="0" dirty="0">
                          <a:solidFill>
                            <a:schemeClr val="bg1">
                              <a:lumMod val="95000"/>
                            </a:schemeClr>
                          </a:solidFill>
                          <a:latin typeface="+mn-lt"/>
                          <a:ea typeface="맑은 고딕" panose="020B0503020000020004" pitchFamily="50" charset="-127"/>
                          <a:cs typeface="Calibri" panose="020F0502020204030204" pitchFamily="34" charset="0"/>
                        </a:rPr>
                        <a:t>No Approval</a:t>
                      </a:r>
                      <a:endParaRPr lang="ko-KR" altLang="en-US" sz="1800" kern="1200" noProof="0" dirty="0">
                        <a:solidFill>
                          <a:schemeClr val="bg1">
                            <a:lumMod val="95000"/>
                          </a:schemeClr>
                        </a:solidFill>
                        <a:latin typeface="+mn-lt"/>
                        <a:ea typeface="맑은 고딕" panose="020B0503020000020004" pitchFamily="50" charset="-127"/>
                        <a:cs typeface="Calibri" panose="020F0502020204030204" pitchFamily="34" charset="0"/>
                      </a:endParaRP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535286300"/>
                  </a:ext>
                </a:extLst>
              </a:tr>
              <a:tr h="320092">
                <a:tc>
                  <a:txBody>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lang="en-US" sz="1800" dirty="0">
                          <a:solidFill>
                            <a:schemeClr val="bg1"/>
                          </a:solidFill>
                          <a:latin typeface="Dubai" panose="020B0503030403030204" pitchFamily="34" charset="-78"/>
                          <a:cs typeface="Dubai" panose="020B0503030403030204" pitchFamily="34" charset="-78"/>
                        </a:rPr>
                        <a:t>SEO</a:t>
                      </a:r>
                      <a:endParaRPr lang="ko-KR" altLang="en-US" sz="1800" kern="1200" noProof="0" dirty="0">
                        <a:solidFill>
                          <a:schemeClr val="bg1">
                            <a:lumMod val="95000"/>
                          </a:schemeClr>
                        </a:solidFill>
                        <a:latin typeface="+mn-lt"/>
                        <a:ea typeface="맑은 고딕" panose="020B0503020000020004" pitchFamily="50" charset="-127"/>
                        <a:cs typeface="Calibri" panose="020F0502020204030204" pitchFamily="34" charset="0"/>
                      </a:endParaRP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24453849"/>
                  </a:ext>
                </a:extLst>
              </a:tr>
              <a:tr h="320092">
                <a:tc>
                  <a:txBody>
                    <a:bodyPr/>
                    <a:lstStyle/>
                    <a:p>
                      <a:pPr marL="0" algn="r" defTabSz="914400" rtl="0" eaLnBrk="1" latinLnBrk="1" hangingPunct="1"/>
                      <a:r>
                        <a:rPr lang="en-US" sz="1800" dirty="0">
                          <a:solidFill>
                            <a:schemeClr val="bg1"/>
                          </a:solidFill>
                          <a:effectLst/>
                        </a:rPr>
                        <a:t>Lightweight</a:t>
                      </a:r>
                      <a:endParaRPr lang="en-US" sz="1800" dirty="0">
                        <a:solidFill>
                          <a:schemeClr val="bg1"/>
                        </a:solidFill>
                        <a:latin typeface="Dubai" panose="020B0503030403030204" pitchFamily="34" charset="-78"/>
                        <a:cs typeface="Dubai" panose="020B0503030403030204" pitchFamily="34" charset="-78"/>
                      </a:endParaRP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374772906"/>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Works on all devices</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403660731"/>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Easier to Develop</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45703338"/>
                  </a:ext>
                </a:extLst>
              </a:tr>
              <a:tr h="320092">
                <a:tc>
                  <a:txBody>
                    <a:bodyPr/>
                    <a:lstStyle/>
                    <a:p>
                      <a:pPr marL="0" algn="r" defTabSz="914400" rtl="0" eaLnBrk="1" latinLnBrk="1" hangingPunct="1"/>
                      <a:r>
                        <a:rPr lang="en-US" sz="1800" dirty="0">
                          <a:solidFill>
                            <a:schemeClr val="bg1"/>
                          </a:solidFill>
                          <a:latin typeface="Dubai" panose="020B0503030403030204" pitchFamily="34" charset="-78"/>
                          <a:cs typeface="Dubai" panose="020B0503030403030204" pitchFamily="34" charset="-78"/>
                        </a:rPr>
                        <a:t>Shareable</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950669247"/>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Offline</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1931184580"/>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Push Notification</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778108786"/>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Fullscreen</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616480996"/>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App store reviews, rating</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85552443"/>
                  </a:ext>
                </a:extLst>
              </a:tr>
              <a:tr h="320092">
                <a:tc>
                  <a:txBody>
                    <a:bodyPr/>
                    <a:lstStyle/>
                    <a:p>
                      <a:pPr algn="r"/>
                      <a:r>
                        <a:rPr lang="en-US" sz="1800" dirty="0">
                          <a:solidFill>
                            <a:schemeClr val="bg1"/>
                          </a:solidFill>
                          <a:latin typeface="Dubai" panose="020B0503030403030204" pitchFamily="34" charset="-78"/>
                          <a:cs typeface="Dubai" panose="020B0503030403030204" pitchFamily="34" charset="-78"/>
                        </a:rPr>
                        <a:t>Hardware Components</a:t>
                      </a:r>
                    </a:p>
                  </a:txBody>
                  <a:tcPr anchor="ctr">
                    <a:lnL w="28575"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1" hangingPunct="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latinLnBrk="1"/>
                      <a:endParaRPr lang="ko-KR" altLang="en-US" sz="1100" kern="1200" dirty="0">
                        <a:solidFill>
                          <a:schemeClr val="bg1">
                            <a:lumMod val="95000"/>
                          </a:schemeClr>
                        </a:solidFill>
                        <a:latin typeface="+mn-lt"/>
                        <a:ea typeface="맑은 고딕" panose="020B0503020000020004" pitchFamily="50" charset="-127"/>
                        <a:cs typeface="Calibri" panose="020F050202020403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32695057"/>
                  </a:ext>
                </a:extLst>
              </a:tr>
            </a:tbl>
          </a:graphicData>
        </a:graphic>
      </p:graphicFrame>
      <p:sp>
        <p:nvSpPr>
          <p:cNvPr id="6" name="Rectangle 5">
            <a:extLst>
              <a:ext uri="{FF2B5EF4-FFF2-40B4-BE49-F238E27FC236}">
                <a16:creationId xmlns:a16="http://schemas.microsoft.com/office/drawing/2014/main" id="{5378117B-2D3C-BB4C-8E09-233EDAC9363E}"/>
              </a:ext>
            </a:extLst>
          </p:cNvPr>
          <p:cNvSpPr/>
          <p:nvPr/>
        </p:nvSpPr>
        <p:spPr>
          <a:xfrm>
            <a:off x="-5354452" y="-2557376"/>
            <a:ext cx="4396525" cy="369332"/>
          </a:xfrm>
          <a:prstGeom prst="rect">
            <a:avLst/>
          </a:prstGeom>
        </p:spPr>
        <p:txBody>
          <a:bodyPr wrap="none">
            <a:spAutoFit/>
          </a:bodyPr>
          <a:lstStyle/>
          <a:p>
            <a:r>
              <a:rPr lang="en-US" dirty="0">
                <a:solidFill>
                  <a:schemeClr val="bg1"/>
                </a:solidFill>
              </a:rPr>
              <a:t>https://</a:t>
            </a:r>
            <a:r>
              <a:rPr lang="en-US" dirty="0" err="1">
                <a:solidFill>
                  <a:schemeClr val="bg1"/>
                </a:solidFill>
              </a:rPr>
              <a:t>appinventiv.com</a:t>
            </a:r>
            <a:r>
              <a:rPr lang="en-US" dirty="0">
                <a:solidFill>
                  <a:schemeClr val="bg1"/>
                </a:solidFill>
              </a:rPr>
              <a:t>/blog/</a:t>
            </a:r>
            <a:r>
              <a:rPr lang="en-US" dirty="0" err="1">
                <a:solidFill>
                  <a:schemeClr val="bg1"/>
                </a:solidFill>
              </a:rPr>
              <a:t>pwa</a:t>
            </a:r>
            <a:r>
              <a:rPr lang="en-US" dirty="0">
                <a:solidFill>
                  <a:schemeClr val="bg1"/>
                </a:solidFill>
              </a:rPr>
              <a:t>-for-</a:t>
            </a:r>
            <a:r>
              <a:rPr lang="en-US" dirty="0" err="1">
                <a:solidFill>
                  <a:schemeClr val="bg1"/>
                </a:solidFill>
              </a:rPr>
              <a:t>smes</a:t>
            </a:r>
            <a:r>
              <a:rPr lang="en-US" dirty="0">
                <a:solidFill>
                  <a:schemeClr val="bg1"/>
                </a:solidFill>
              </a:rPr>
              <a:t>/</a:t>
            </a:r>
          </a:p>
        </p:txBody>
      </p:sp>
      <p:grpSp>
        <p:nvGrpSpPr>
          <p:cNvPr id="3" name="Group 2">
            <a:extLst>
              <a:ext uri="{FF2B5EF4-FFF2-40B4-BE49-F238E27FC236}">
                <a16:creationId xmlns:a16="http://schemas.microsoft.com/office/drawing/2014/main" id="{3025B41D-11A0-B54E-B832-B60F95B5DAD2}"/>
              </a:ext>
            </a:extLst>
          </p:cNvPr>
          <p:cNvGrpSpPr/>
          <p:nvPr/>
        </p:nvGrpSpPr>
        <p:grpSpPr>
          <a:xfrm>
            <a:off x="4682703" y="1660232"/>
            <a:ext cx="5470049" cy="4965890"/>
            <a:chOff x="4682703" y="1660232"/>
            <a:chExt cx="5470049" cy="4965890"/>
          </a:xfrm>
        </p:grpSpPr>
        <p:pic>
          <p:nvPicPr>
            <p:cNvPr id="10" name="Picture 2">
              <a:extLst>
                <a:ext uri="{FF2B5EF4-FFF2-40B4-BE49-F238E27FC236}">
                  <a16:creationId xmlns:a16="http://schemas.microsoft.com/office/drawing/2014/main" id="{246DD099-072C-A949-B7F4-8BD55E98972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3107236"/>
              <a:ext cx="263128" cy="263128"/>
            </a:xfrm>
            <a:prstGeom prst="rect">
              <a:avLst/>
            </a:prstGeom>
            <a:solidFill>
              <a:schemeClr val="bg2">
                <a:alpha val="0"/>
              </a:schemeClr>
            </a:solidFill>
          </p:spPr>
        </p:pic>
        <p:pic>
          <p:nvPicPr>
            <p:cNvPr id="11" name="Picture 2">
              <a:extLst>
                <a:ext uri="{FF2B5EF4-FFF2-40B4-BE49-F238E27FC236}">
                  <a16:creationId xmlns:a16="http://schemas.microsoft.com/office/drawing/2014/main" id="{A353DEC5-6813-4844-B798-404D7A4B1F2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1660232"/>
              <a:ext cx="263128" cy="263128"/>
            </a:xfrm>
            <a:prstGeom prst="rect">
              <a:avLst/>
            </a:prstGeom>
            <a:solidFill>
              <a:schemeClr val="bg2">
                <a:alpha val="0"/>
              </a:schemeClr>
            </a:solidFill>
          </p:spPr>
        </p:pic>
        <p:pic>
          <p:nvPicPr>
            <p:cNvPr id="14" name="Picture 2">
              <a:extLst>
                <a:ext uri="{FF2B5EF4-FFF2-40B4-BE49-F238E27FC236}">
                  <a16:creationId xmlns:a16="http://schemas.microsoft.com/office/drawing/2014/main" id="{AF969B38-5F32-D04F-8A7C-FD41260CDB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2021983"/>
              <a:ext cx="263128" cy="263128"/>
            </a:xfrm>
            <a:prstGeom prst="rect">
              <a:avLst/>
            </a:prstGeom>
            <a:solidFill>
              <a:schemeClr val="bg2">
                <a:alpha val="0"/>
              </a:schemeClr>
            </a:solidFill>
          </p:spPr>
        </p:pic>
        <p:pic>
          <p:nvPicPr>
            <p:cNvPr id="17" name="Picture 2">
              <a:extLst>
                <a:ext uri="{FF2B5EF4-FFF2-40B4-BE49-F238E27FC236}">
                  <a16:creationId xmlns:a16="http://schemas.microsoft.com/office/drawing/2014/main" id="{9A4876C2-B98F-9D4D-8C53-69D092A486F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2383734"/>
              <a:ext cx="263128" cy="263128"/>
            </a:xfrm>
            <a:prstGeom prst="rect">
              <a:avLst/>
            </a:prstGeom>
            <a:solidFill>
              <a:schemeClr val="bg2">
                <a:alpha val="0"/>
              </a:schemeClr>
            </a:solidFill>
          </p:spPr>
        </p:pic>
        <p:pic>
          <p:nvPicPr>
            <p:cNvPr id="31" name="Picture 4">
              <a:extLst>
                <a:ext uri="{FF2B5EF4-FFF2-40B4-BE49-F238E27FC236}">
                  <a16:creationId xmlns:a16="http://schemas.microsoft.com/office/drawing/2014/main" id="{F3E70F89-613B-D249-AC8D-D8BBC890093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162" y="4915991"/>
              <a:ext cx="263128" cy="263128"/>
            </a:xfrm>
            <a:prstGeom prst="rect">
              <a:avLst/>
            </a:prstGeom>
            <a:solidFill>
              <a:schemeClr val="bg2">
                <a:alpha val="0"/>
              </a:schemeClr>
            </a:solidFill>
          </p:spPr>
        </p:pic>
        <p:pic>
          <p:nvPicPr>
            <p:cNvPr id="33" name="Picture 4">
              <a:extLst>
                <a:ext uri="{FF2B5EF4-FFF2-40B4-BE49-F238E27FC236}">
                  <a16:creationId xmlns:a16="http://schemas.microsoft.com/office/drawing/2014/main" id="{9194E82B-4925-5F4D-852D-2B56519938B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162" y="5277742"/>
              <a:ext cx="263128" cy="263128"/>
            </a:xfrm>
            <a:prstGeom prst="rect">
              <a:avLst/>
            </a:prstGeom>
            <a:solidFill>
              <a:schemeClr val="bg2">
                <a:alpha val="0"/>
              </a:schemeClr>
            </a:solidFill>
          </p:spPr>
        </p:pic>
        <p:pic>
          <p:nvPicPr>
            <p:cNvPr id="36" name="Picture 4">
              <a:extLst>
                <a:ext uri="{FF2B5EF4-FFF2-40B4-BE49-F238E27FC236}">
                  <a16:creationId xmlns:a16="http://schemas.microsoft.com/office/drawing/2014/main" id="{A7480B4D-E64E-7047-B820-0B5014B72B4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162" y="5639493"/>
              <a:ext cx="263128" cy="263128"/>
            </a:xfrm>
            <a:prstGeom prst="rect">
              <a:avLst/>
            </a:prstGeom>
            <a:solidFill>
              <a:schemeClr val="bg2">
                <a:alpha val="0"/>
              </a:schemeClr>
            </a:solidFill>
          </p:spPr>
        </p:pic>
        <p:pic>
          <p:nvPicPr>
            <p:cNvPr id="41" name="Picture 2">
              <a:extLst>
                <a:ext uri="{FF2B5EF4-FFF2-40B4-BE49-F238E27FC236}">
                  <a16:creationId xmlns:a16="http://schemas.microsoft.com/office/drawing/2014/main" id="{E604EB5C-ADA3-804A-876B-7E1549AFD6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2745485"/>
              <a:ext cx="263128" cy="263128"/>
            </a:xfrm>
            <a:prstGeom prst="rect">
              <a:avLst/>
            </a:prstGeom>
            <a:solidFill>
              <a:schemeClr val="bg2">
                <a:alpha val="0"/>
              </a:schemeClr>
            </a:solidFill>
          </p:spPr>
        </p:pic>
        <p:pic>
          <p:nvPicPr>
            <p:cNvPr id="45" name="Picture 2">
              <a:extLst>
                <a:ext uri="{FF2B5EF4-FFF2-40B4-BE49-F238E27FC236}">
                  <a16:creationId xmlns:a16="http://schemas.microsoft.com/office/drawing/2014/main" id="{7F2D058F-BC20-1A4A-AD39-1B798C807CE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3830738"/>
              <a:ext cx="263128" cy="263128"/>
            </a:xfrm>
            <a:prstGeom prst="rect">
              <a:avLst/>
            </a:prstGeom>
            <a:solidFill>
              <a:schemeClr val="bg2">
                <a:alpha val="0"/>
              </a:schemeClr>
            </a:solidFill>
          </p:spPr>
        </p:pic>
        <p:pic>
          <p:nvPicPr>
            <p:cNvPr id="49" name="Picture 2">
              <a:extLst>
                <a:ext uri="{FF2B5EF4-FFF2-40B4-BE49-F238E27FC236}">
                  <a16:creationId xmlns:a16="http://schemas.microsoft.com/office/drawing/2014/main" id="{C2AAFC2A-CB89-4E41-8914-AB01C75444A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3468987"/>
              <a:ext cx="263128" cy="263128"/>
            </a:xfrm>
            <a:prstGeom prst="rect">
              <a:avLst/>
            </a:prstGeom>
            <a:solidFill>
              <a:schemeClr val="bg2">
                <a:alpha val="0"/>
              </a:schemeClr>
            </a:solidFill>
          </p:spPr>
        </p:pic>
        <p:pic>
          <p:nvPicPr>
            <p:cNvPr id="12" name="Picture 4">
              <a:extLst>
                <a:ext uri="{FF2B5EF4-FFF2-40B4-BE49-F238E27FC236}">
                  <a16:creationId xmlns:a16="http://schemas.microsoft.com/office/drawing/2014/main" id="{D4271FC6-C69F-CE46-A1FE-2E648EAF8A1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1660232"/>
              <a:ext cx="263128" cy="263128"/>
            </a:xfrm>
            <a:prstGeom prst="rect">
              <a:avLst/>
            </a:prstGeom>
            <a:solidFill>
              <a:schemeClr val="bg2">
                <a:alpha val="0"/>
              </a:schemeClr>
            </a:solidFill>
          </p:spPr>
        </p:pic>
        <p:pic>
          <p:nvPicPr>
            <p:cNvPr id="15" name="Picture 4">
              <a:extLst>
                <a:ext uri="{FF2B5EF4-FFF2-40B4-BE49-F238E27FC236}">
                  <a16:creationId xmlns:a16="http://schemas.microsoft.com/office/drawing/2014/main" id="{ABB20BC3-6E86-E54D-B99B-023F970F332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2021983"/>
              <a:ext cx="263128" cy="263128"/>
            </a:xfrm>
            <a:prstGeom prst="rect">
              <a:avLst/>
            </a:prstGeom>
            <a:solidFill>
              <a:schemeClr val="bg2">
                <a:alpha val="0"/>
              </a:schemeClr>
            </a:solidFill>
          </p:spPr>
        </p:pic>
        <p:pic>
          <p:nvPicPr>
            <p:cNvPr id="18" name="Picture 4">
              <a:extLst>
                <a:ext uri="{FF2B5EF4-FFF2-40B4-BE49-F238E27FC236}">
                  <a16:creationId xmlns:a16="http://schemas.microsoft.com/office/drawing/2014/main" id="{AEFA3E81-3311-C647-BD4F-6102034DEA5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2383734"/>
              <a:ext cx="263128" cy="263128"/>
            </a:xfrm>
            <a:prstGeom prst="rect">
              <a:avLst/>
            </a:prstGeom>
            <a:solidFill>
              <a:schemeClr val="bg2">
                <a:alpha val="0"/>
              </a:schemeClr>
            </a:solidFill>
          </p:spPr>
        </p:pic>
        <p:pic>
          <p:nvPicPr>
            <p:cNvPr id="22" name="Picture 4">
              <a:extLst>
                <a:ext uri="{FF2B5EF4-FFF2-40B4-BE49-F238E27FC236}">
                  <a16:creationId xmlns:a16="http://schemas.microsoft.com/office/drawing/2014/main" id="{3B60AB61-6EF1-7E48-ACBB-50C2FE0CEB6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3107236"/>
              <a:ext cx="263128" cy="263128"/>
            </a:xfrm>
            <a:prstGeom prst="rect">
              <a:avLst/>
            </a:prstGeom>
            <a:solidFill>
              <a:schemeClr val="bg2">
                <a:alpha val="0"/>
              </a:schemeClr>
            </a:solidFill>
          </p:spPr>
        </p:pic>
        <p:pic>
          <p:nvPicPr>
            <p:cNvPr id="30" name="Picture 2">
              <a:extLst>
                <a:ext uri="{FF2B5EF4-FFF2-40B4-BE49-F238E27FC236}">
                  <a16:creationId xmlns:a16="http://schemas.microsoft.com/office/drawing/2014/main" id="{D5BE633A-0149-DA4C-A96E-B21005ECC0A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2703" y="4915991"/>
              <a:ext cx="263128" cy="263128"/>
            </a:xfrm>
            <a:prstGeom prst="rect">
              <a:avLst/>
            </a:prstGeom>
            <a:solidFill>
              <a:schemeClr val="bg2">
                <a:alpha val="0"/>
              </a:schemeClr>
            </a:solidFill>
          </p:spPr>
        </p:pic>
        <p:pic>
          <p:nvPicPr>
            <p:cNvPr id="32" name="Picture 2">
              <a:extLst>
                <a:ext uri="{FF2B5EF4-FFF2-40B4-BE49-F238E27FC236}">
                  <a16:creationId xmlns:a16="http://schemas.microsoft.com/office/drawing/2014/main" id="{9FE0613F-CBBA-6941-B50B-0868549F58F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2703" y="5277742"/>
              <a:ext cx="263128" cy="263128"/>
            </a:xfrm>
            <a:prstGeom prst="rect">
              <a:avLst/>
            </a:prstGeom>
            <a:solidFill>
              <a:schemeClr val="bg2">
                <a:alpha val="0"/>
              </a:schemeClr>
            </a:solidFill>
          </p:spPr>
        </p:pic>
        <p:pic>
          <p:nvPicPr>
            <p:cNvPr id="35" name="Picture 2">
              <a:extLst>
                <a:ext uri="{FF2B5EF4-FFF2-40B4-BE49-F238E27FC236}">
                  <a16:creationId xmlns:a16="http://schemas.microsoft.com/office/drawing/2014/main" id="{0429C876-A1AC-FB4E-BB3A-A87085CA5D2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2703" y="5639493"/>
              <a:ext cx="263128" cy="263128"/>
            </a:xfrm>
            <a:prstGeom prst="rect">
              <a:avLst/>
            </a:prstGeom>
            <a:solidFill>
              <a:schemeClr val="bg2">
                <a:alpha val="0"/>
              </a:schemeClr>
            </a:solidFill>
          </p:spPr>
        </p:pic>
        <p:pic>
          <p:nvPicPr>
            <p:cNvPr id="42" name="Picture 4">
              <a:extLst>
                <a:ext uri="{FF2B5EF4-FFF2-40B4-BE49-F238E27FC236}">
                  <a16:creationId xmlns:a16="http://schemas.microsoft.com/office/drawing/2014/main" id="{2E6CBFD7-7F6E-A34E-BFB0-C0DF2C40B23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2745485"/>
              <a:ext cx="263128" cy="263128"/>
            </a:xfrm>
            <a:prstGeom prst="rect">
              <a:avLst/>
            </a:prstGeom>
            <a:solidFill>
              <a:schemeClr val="bg2">
                <a:alpha val="0"/>
              </a:schemeClr>
            </a:solidFill>
          </p:spPr>
        </p:pic>
        <p:pic>
          <p:nvPicPr>
            <p:cNvPr id="48" name="Picture 4">
              <a:extLst>
                <a:ext uri="{FF2B5EF4-FFF2-40B4-BE49-F238E27FC236}">
                  <a16:creationId xmlns:a16="http://schemas.microsoft.com/office/drawing/2014/main" id="{4D5CF51B-F197-E040-8869-17BC6A4E2A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3830738"/>
              <a:ext cx="263128" cy="263128"/>
            </a:xfrm>
            <a:prstGeom prst="rect">
              <a:avLst/>
            </a:prstGeom>
            <a:solidFill>
              <a:schemeClr val="bg2">
                <a:alpha val="0"/>
              </a:schemeClr>
            </a:solidFill>
          </p:spPr>
        </p:pic>
        <p:pic>
          <p:nvPicPr>
            <p:cNvPr id="50" name="Picture 4">
              <a:extLst>
                <a:ext uri="{FF2B5EF4-FFF2-40B4-BE49-F238E27FC236}">
                  <a16:creationId xmlns:a16="http://schemas.microsoft.com/office/drawing/2014/main" id="{AB477CC6-834B-D040-8CA7-19F5413267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3468987"/>
              <a:ext cx="263128" cy="263128"/>
            </a:xfrm>
            <a:prstGeom prst="rect">
              <a:avLst/>
            </a:prstGeom>
            <a:solidFill>
              <a:schemeClr val="bg2">
                <a:alpha val="0"/>
              </a:schemeClr>
            </a:solidFill>
          </p:spPr>
        </p:pic>
        <p:pic>
          <p:nvPicPr>
            <p:cNvPr id="13" name="Picture 4">
              <a:extLst>
                <a:ext uri="{FF2B5EF4-FFF2-40B4-BE49-F238E27FC236}">
                  <a16:creationId xmlns:a16="http://schemas.microsoft.com/office/drawing/2014/main" id="{84694EED-6D3E-E942-823A-8DB4FD8365A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1660232"/>
              <a:ext cx="263128" cy="263128"/>
            </a:xfrm>
            <a:prstGeom prst="rect">
              <a:avLst/>
            </a:prstGeom>
            <a:solidFill>
              <a:schemeClr val="bg2">
                <a:alpha val="0"/>
              </a:schemeClr>
            </a:solidFill>
          </p:spPr>
        </p:pic>
        <p:pic>
          <p:nvPicPr>
            <p:cNvPr id="16" name="Picture 4">
              <a:extLst>
                <a:ext uri="{FF2B5EF4-FFF2-40B4-BE49-F238E27FC236}">
                  <a16:creationId xmlns:a16="http://schemas.microsoft.com/office/drawing/2014/main" id="{CF9CCA93-0132-8249-8257-BDAE98C656E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2021983"/>
              <a:ext cx="263128" cy="263128"/>
            </a:xfrm>
            <a:prstGeom prst="rect">
              <a:avLst/>
            </a:prstGeom>
            <a:solidFill>
              <a:schemeClr val="bg2">
                <a:alpha val="0"/>
              </a:schemeClr>
            </a:solidFill>
          </p:spPr>
        </p:pic>
        <p:pic>
          <p:nvPicPr>
            <p:cNvPr id="19" name="Picture 4">
              <a:extLst>
                <a:ext uri="{FF2B5EF4-FFF2-40B4-BE49-F238E27FC236}">
                  <a16:creationId xmlns:a16="http://schemas.microsoft.com/office/drawing/2014/main" id="{12A53009-F961-AB43-87B9-D070B58A02A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2383734"/>
              <a:ext cx="263128" cy="263128"/>
            </a:xfrm>
            <a:prstGeom prst="rect">
              <a:avLst/>
            </a:prstGeom>
            <a:solidFill>
              <a:schemeClr val="bg2">
                <a:alpha val="0"/>
              </a:schemeClr>
            </a:solidFill>
          </p:spPr>
        </p:pic>
        <p:pic>
          <p:nvPicPr>
            <p:cNvPr id="20" name="Picture 4">
              <a:extLst>
                <a:ext uri="{FF2B5EF4-FFF2-40B4-BE49-F238E27FC236}">
                  <a16:creationId xmlns:a16="http://schemas.microsoft.com/office/drawing/2014/main" id="{EF5B7F97-AAA7-BA43-B462-9966BF4C407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3107236"/>
              <a:ext cx="263128" cy="263128"/>
            </a:xfrm>
            <a:prstGeom prst="rect">
              <a:avLst/>
            </a:prstGeom>
            <a:solidFill>
              <a:schemeClr val="bg2">
                <a:alpha val="0"/>
              </a:schemeClr>
            </a:solidFill>
          </p:spPr>
        </p:pic>
        <p:pic>
          <p:nvPicPr>
            <p:cNvPr id="29" name="Picture 4">
              <a:extLst>
                <a:ext uri="{FF2B5EF4-FFF2-40B4-BE49-F238E27FC236}">
                  <a16:creationId xmlns:a16="http://schemas.microsoft.com/office/drawing/2014/main" id="{197640F0-C4FF-9D40-A6B5-CB77D201298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4915991"/>
              <a:ext cx="263128" cy="263128"/>
            </a:xfrm>
            <a:prstGeom prst="rect">
              <a:avLst/>
            </a:prstGeom>
            <a:solidFill>
              <a:schemeClr val="bg2">
                <a:alpha val="0"/>
              </a:schemeClr>
            </a:solidFill>
          </p:spPr>
        </p:pic>
        <p:pic>
          <p:nvPicPr>
            <p:cNvPr id="43" name="Picture 4">
              <a:extLst>
                <a:ext uri="{FF2B5EF4-FFF2-40B4-BE49-F238E27FC236}">
                  <a16:creationId xmlns:a16="http://schemas.microsoft.com/office/drawing/2014/main" id="{F785538D-EE81-064A-AFE1-768C0918335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4" y="2745485"/>
              <a:ext cx="263128" cy="263128"/>
            </a:xfrm>
            <a:prstGeom prst="rect">
              <a:avLst/>
            </a:prstGeom>
            <a:solidFill>
              <a:schemeClr val="bg2">
                <a:alpha val="0"/>
              </a:schemeClr>
            </a:solidFill>
          </p:spPr>
        </p:pic>
        <p:pic>
          <p:nvPicPr>
            <p:cNvPr id="46" name="Picture 4">
              <a:extLst>
                <a:ext uri="{FF2B5EF4-FFF2-40B4-BE49-F238E27FC236}">
                  <a16:creationId xmlns:a16="http://schemas.microsoft.com/office/drawing/2014/main" id="{31D054EE-A69E-4A43-B9B5-705F248AE9B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3830738"/>
              <a:ext cx="263128" cy="263128"/>
            </a:xfrm>
            <a:prstGeom prst="rect">
              <a:avLst/>
            </a:prstGeom>
            <a:solidFill>
              <a:schemeClr val="bg2">
                <a:alpha val="0"/>
              </a:schemeClr>
            </a:solidFill>
          </p:spPr>
        </p:pic>
        <p:pic>
          <p:nvPicPr>
            <p:cNvPr id="51" name="Picture 4">
              <a:extLst>
                <a:ext uri="{FF2B5EF4-FFF2-40B4-BE49-F238E27FC236}">
                  <a16:creationId xmlns:a16="http://schemas.microsoft.com/office/drawing/2014/main" id="{6A27B59B-454F-0247-823A-EF0A075725F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3468987"/>
              <a:ext cx="263128" cy="263128"/>
            </a:xfrm>
            <a:prstGeom prst="rect">
              <a:avLst/>
            </a:prstGeom>
            <a:solidFill>
              <a:schemeClr val="bg2">
                <a:alpha val="0"/>
              </a:schemeClr>
            </a:solidFill>
          </p:spPr>
        </p:pic>
        <p:pic>
          <p:nvPicPr>
            <p:cNvPr id="69" name="Picture 2">
              <a:extLst>
                <a:ext uri="{FF2B5EF4-FFF2-40B4-BE49-F238E27FC236}">
                  <a16:creationId xmlns:a16="http://schemas.microsoft.com/office/drawing/2014/main" id="{37713A97-F921-A04F-AB2F-90D902DA053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4192489"/>
              <a:ext cx="263128" cy="263128"/>
            </a:xfrm>
            <a:prstGeom prst="rect">
              <a:avLst/>
            </a:prstGeom>
            <a:solidFill>
              <a:schemeClr val="bg2">
                <a:alpha val="0"/>
              </a:schemeClr>
            </a:solidFill>
          </p:spPr>
        </p:pic>
        <p:pic>
          <p:nvPicPr>
            <p:cNvPr id="70" name="Picture 4">
              <a:extLst>
                <a:ext uri="{FF2B5EF4-FFF2-40B4-BE49-F238E27FC236}">
                  <a16:creationId xmlns:a16="http://schemas.microsoft.com/office/drawing/2014/main" id="{179AFEB2-6C91-C244-81D5-73CFF4C7815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4192489"/>
              <a:ext cx="263128" cy="263128"/>
            </a:xfrm>
            <a:prstGeom prst="rect">
              <a:avLst/>
            </a:prstGeom>
            <a:solidFill>
              <a:schemeClr val="bg2">
                <a:alpha val="0"/>
              </a:schemeClr>
            </a:solidFill>
          </p:spPr>
        </p:pic>
        <p:pic>
          <p:nvPicPr>
            <p:cNvPr id="71" name="Picture 4">
              <a:extLst>
                <a:ext uri="{FF2B5EF4-FFF2-40B4-BE49-F238E27FC236}">
                  <a16:creationId xmlns:a16="http://schemas.microsoft.com/office/drawing/2014/main" id="{F9520F26-605E-8244-884E-67F4DC82865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4192489"/>
              <a:ext cx="263128" cy="263128"/>
            </a:xfrm>
            <a:prstGeom prst="rect">
              <a:avLst/>
            </a:prstGeom>
            <a:solidFill>
              <a:schemeClr val="bg2">
                <a:alpha val="0"/>
              </a:schemeClr>
            </a:solidFill>
          </p:spPr>
        </p:pic>
        <p:pic>
          <p:nvPicPr>
            <p:cNvPr id="72" name="Picture 4">
              <a:extLst>
                <a:ext uri="{FF2B5EF4-FFF2-40B4-BE49-F238E27FC236}">
                  <a16:creationId xmlns:a16="http://schemas.microsoft.com/office/drawing/2014/main" id="{0C9305D6-BE2F-FA4F-863B-BA2F70ED428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5277742"/>
              <a:ext cx="263128" cy="263128"/>
            </a:xfrm>
            <a:prstGeom prst="rect">
              <a:avLst/>
            </a:prstGeom>
            <a:solidFill>
              <a:schemeClr val="bg2">
                <a:alpha val="0"/>
              </a:schemeClr>
            </a:solidFill>
          </p:spPr>
        </p:pic>
        <p:pic>
          <p:nvPicPr>
            <p:cNvPr id="73" name="Picture 4">
              <a:extLst>
                <a:ext uri="{FF2B5EF4-FFF2-40B4-BE49-F238E27FC236}">
                  <a16:creationId xmlns:a16="http://schemas.microsoft.com/office/drawing/2014/main" id="{74DED5F0-02CB-E04A-9EE5-F5C81F4D2B4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162" y="6001244"/>
              <a:ext cx="263128" cy="263128"/>
            </a:xfrm>
            <a:prstGeom prst="rect">
              <a:avLst/>
            </a:prstGeom>
            <a:solidFill>
              <a:schemeClr val="bg2">
                <a:alpha val="0"/>
              </a:schemeClr>
            </a:solidFill>
          </p:spPr>
        </p:pic>
        <p:pic>
          <p:nvPicPr>
            <p:cNvPr id="74" name="Picture 2">
              <a:extLst>
                <a:ext uri="{FF2B5EF4-FFF2-40B4-BE49-F238E27FC236}">
                  <a16:creationId xmlns:a16="http://schemas.microsoft.com/office/drawing/2014/main" id="{93F2936F-CDCB-1D40-B958-F3B904352E5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2703" y="6001244"/>
              <a:ext cx="263128" cy="263128"/>
            </a:xfrm>
            <a:prstGeom prst="rect">
              <a:avLst/>
            </a:prstGeom>
            <a:solidFill>
              <a:schemeClr val="bg2">
                <a:alpha val="0"/>
              </a:schemeClr>
            </a:solidFill>
          </p:spPr>
        </p:pic>
        <p:pic>
          <p:nvPicPr>
            <p:cNvPr id="75" name="Picture 2">
              <a:extLst>
                <a:ext uri="{FF2B5EF4-FFF2-40B4-BE49-F238E27FC236}">
                  <a16:creationId xmlns:a16="http://schemas.microsoft.com/office/drawing/2014/main" id="{F8415AD2-2B2A-384D-8A8D-A8259D9390A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89624" y="6001244"/>
              <a:ext cx="263128" cy="263128"/>
            </a:xfrm>
            <a:prstGeom prst="rect">
              <a:avLst/>
            </a:prstGeom>
            <a:solidFill>
              <a:schemeClr val="bg2">
                <a:alpha val="0"/>
              </a:schemeClr>
            </a:solidFill>
          </p:spPr>
        </p:pic>
        <p:pic>
          <p:nvPicPr>
            <p:cNvPr id="76" name="Picture 4">
              <a:extLst>
                <a:ext uri="{FF2B5EF4-FFF2-40B4-BE49-F238E27FC236}">
                  <a16:creationId xmlns:a16="http://schemas.microsoft.com/office/drawing/2014/main" id="{DBDFC0D8-7F46-9B4B-93A7-E3099F96154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86163" y="6362994"/>
              <a:ext cx="263128" cy="263128"/>
            </a:xfrm>
            <a:prstGeom prst="rect">
              <a:avLst/>
            </a:prstGeom>
            <a:solidFill>
              <a:schemeClr val="bg2">
                <a:alpha val="0"/>
              </a:schemeClr>
            </a:solidFill>
          </p:spPr>
        </p:pic>
        <p:pic>
          <p:nvPicPr>
            <p:cNvPr id="77" name="Picture 2">
              <a:extLst>
                <a:ext uri="{FF2B5EF4-FFF2-40B4-BE49-F238E27FC236}">
                  <a16:creationId xmlns:a16="http://schemas.microsoft.com/office/drawing/2014/main" id="{5315EC8B-B0BA-824A-A154-892DD6F1C12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82703" y="6362994"/>
              <a:ext cx="263128" cy="263128"/>
            </a:xfrm>
            <a:prstGeom prst="rect">
              <a:avLst/>
            </a:prstGeom>
            <a:solidFill>
              <a:schemeClr val="bg2">
                <a:alpha val="0"/>
              </a:schemeClr>
            </a:solidFill>
          </p:spPr>
        </p:pic>
        <p:pic>
          <p:nvPicPr>
            <p:cNvPr id="78" name="Picture 2">
              <a:extLst>
                <a:ext uri="{FF2B5EF4-FFF2-40B4-BE49-F238E27FC236}">
                  <a16:creationId xmlns:a16="http://schemas.microsoft.com/office/drawing/2014/main" id="{A7B22CBD-3354-5945-A73D-E010E7BE8A4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889624" y="6362994"/>
              <a:ext cx="263128" cy="263128"/>
            </a:xfrm>
            <a:prstGeom prst="rect">
              <a:avLst/>
            </a:prstGeom>
            <a:solidFill>
              <a:schemeClr val="bg2">
                <a:alpha val="0"/>
              </a:schemeClr>
            </a:solidFill>
          </p:spPr>
        </p:pic>
        <p:pic>
          <p:nvPicPr>
            <p:cNvPr id="79" name="Picture 2">
              <a:extLst>
                <a:ext uri="{FF2B5EF4-FFF2-40B4-BE49-F238E27FC236}">
                  <a16:creationId xmlns:a16="http://schemas.microsoft.com/office/drawing/2014/main" id="{FBBE9C6F-EDCD-CD4B-B007-A84C78A51F0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286162" y="4554240"/>
              <a:ext cx="263128" cy="263128"/>
            </a:xfrm>
            <a:prstGeom prst="rect">
              <a:avLst/>
            </a:prstGeom>
            <a:solidFill>
              <a:schemeClr val="bg2">
                <a:alpha val="0"/>
              </a:schemeClr>
            </a:solidFill>
          </p:spPr>
        </p:pic>
        <p:pic>
          <p:nvPicPr>
            <p:cNvPr id="80" name="Picture 4">
              <a:extLst>
                <a:ext uri="{FF2B5EF4-FFF2-40B4-BE49-F238E27FC236}">
                  <a16:creationId xmlns:a16="http://schemas.microsoft.com/office/drawing/2014/main" id="{C128D7A7-0CB3-2246-BE06-E02314CCA5A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82703" y="4554240"/>
              <a:ext cx="263128" cy="263128"/>
            </a:xfrm>
            <a:prstGeom prst="rect">
              <a:avLst/>
            </a:prstGeom>
            <a:solidFill>
              <a:schemeClr val="bg2">
                <a:alpha val="0"/>
              </a:schemeClr>
            </a:solidFill>
          </p:spPr>
        </p:pic>
        <p:pic>
          <p:nvPicPr>
            <p:cNvPr id="81" name="Picture 4">
              <a:extLst>
                <a:ext uri="{FF2B5EF4-FFF2-40B4-BE49-F238E27FC236}">
                  <a16:creationId xmlns:a16="http://schemas.microsoft.com/office/drawing/2014/main" id="{AD0C509D-DBA1-5E42-9053-192FB8CEEB5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4554240"/>
              <a:ext cx="263128" cy="263128"/>
            </a:xfrm>
            <a:prstGeom prst="rect">
              <a:avLst/>
            </a:prstGeom>
            <a:solidFill>
              <a:schemeClr val="bg2">
                <a:alpha val="0"/>
              </a:schemeClr>
            </a:solidFill>
          </p:spPr>
        </p:pic>
      </p:grpSp>
      <p:pic>
        <p:nvPicPr>
          <p:cNvPr id="66" name="Picture 4">
            <a:extLst>
              <a:ext uri="{FF2B5EF4-FFF2-40B4-BE49-F238E27FC236}">
                <a16:creationId xmlns:a16="http://schemas.microsoft.com/office/drawing/2014/main" id="{4A2C27B9-5942-9B4A-8AFF-E9E6A3FA702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889623" y="5637238"/>
            <a:ext cx="263128" cy="263128"/>
          </a:xfrm>
          <a:prstGeom prst="rect">
            <a:avLst/>
          </a:prstGeom>
          <a:solidFill>
            <a:schemeClr val="bg2">
              <a:alpha val="0"/>
            </a:schemeClr>
          </a:solidFill>
        </p:spPr>
      </p:pic>
    </p:spTree>
    <p:extLst>
      <p:ext uri="{BB962C8B-B14F-4D97-AF65-F5344CB8AC3E}">
        <p14:creationId xmlns:p14="http://schemas.microsoft.com/office/powerpoint/2010/main" val="359009530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30D8674-38C2-8541-A316-8BFF87257F80}"/>
              </a:ext>
            </a:extLst>
          </p:cNvPr>
          <p:cNvGraphicFramePr>
            <a:graphicFrameLocks noChangeAspect="1"/>
          </p:cNvGraphicFramePr>
          <p:nvPr>
            <p:custDataLst>
              <p:tags r:id="rId2"/>
            </p:custDataLst>
            <p:extLst>
              <p:ext uri="{D42A27DB-BD31-4B8C-83A1-F6EECF244321}">
                <p14:modId xmlns:p14="http://schemas.microsoft.com/office/powerpoint/2010/main" val="324832589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113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58" name="자유형: 도형 57">
            <a:extLst>
              <a:ext uri="{FF2B5EF4-FFF2-40B4-BE49-F238E27FC236}">
                <a16:creationId xmlns:a16="http://schemas.microsoft.com/office/drawing/2014/main" id="{342F1DB4-5DCB-4793-A957-F440EBB09F55}"/>
              </a:ext>
            </a:extLst>
          </p:cNvPr>
          <p:cNvSpPr>
            <a:spLocks/>
          </p:cNvSpPr>
          <p:nvPr/>
        </p:nvSpPr>
        <p:spPr bwMode="auto">
          <a:xfrm flipH="1">
            <a:off x="5781778" y="3312576"/>
            <a:ext cx="5321308" cy="1061141"/>
          </a:xfrm>
          <a:custGeom>
            <a:avLst/>
            <a:gdLst>
              <a:gd name="connsiteX0" fmla="*/ 456434 w 4597081"/>
              <a:gd name="connsiteY0" fmla="*/ 0 h 916720"/>
              <a:gd name="connsiteX1" fmla="*/ 500729 w 4597081"/>
              <a:gd name="connsiteY1" fmla="*/ 3852 h 916720"/>
              <a:gd name="connsiteX2" fmla="*/ 548876 w 4597081"/>
              <a:gd name="connsiteY2" fmla="*/ 7704 h 916720"/>
              <a:gd name="connsiteX3" fmla="*/ 591246 w 4597081"/>
              <a:gd name="connsiteY3" fmla="*/ 21185 h 916720"/>
              <a:gd name="connsiteX4" fmla="*/ 635541 w 4597081"/>
              <a:gd name="connsiteY4" fmla="*/ 36592 h 916720"/>
              <a:gd name="connsiteX5" fmla="*/ 672133 w 4597081"/>
              <a:gd name="connsiteY5" fmla="*/ 57777 h 916720"/>
              <a:gd name="connsiteX6" fmla="*/ 712576 w 4597081"/>
              <a:gd name="connsiteY6" fmla="*/ 77035 h 916720"/>
              <a:gd name="connsiteX7" fmla="*/ 745316 w 4597081"/>
              <a:gd name="connsiteY7" fmla="*/ 105924 h 916720"/>
              <a:gd name="connsiteX8" fmla="*/ 778056 w 4597081"/>
              <a:gd name="connsiteY8" fmla="*/ 134812 h 916720"/>
              <a:gd name="connsiteX9" fmla="*/ 797316 w 4597081"/>
              <a:gd name="connsiteY9" fmla="*/ 154071 h 916720"/>
              <a:gd name="connsiteX10" fmla="*/ 4315902 w 4597081"/>
              <a:gd name="connsiteY10" fmla="*/ 154071 h 916720"/>
              <a:gd name="connsiteX11" fmla="*/ 4319754 w 4597081"/>
              <a:gd name="connsiteY11" fmla="*/ 154071 h 916720"/>
              <a:gd name="connsiteX12" fmla="*/ 4323606 w 4597081"/>
              <a:gd name="connsiteY12" fmla="*/ 154071 h 916720"/>
              <a:gd name="connsiteX13" fmla="*/ 4327458 w 4597081"/>
              <a:gd name="connsiteY13" fmla="*/ 154071 h 916720"/>
              <a:gd name="connsiteX14" fmla="*/ 4356346 w 4597081"/>
              <a:gd name="connsiteY14" fmla="*/ 154071 h 916720"/>
              <a:gd name="connsiteX15" fmla="*/ 4381382 w 4597081"/>
              <a:gd name="connsiteY15" fmla="*/ 163701 h 916720"/>
              <a:gd name="connsiteX16" fmla="*/ 4410271 w 4597081"/>
              <a:gd name="connsiteY16" fmla="*/ 171404 h 916720"/>
              <a:gd name="connsiteX17" fmla="*/ 4433381 w 4597081"/>
              <a:gd name="connsiteY17" fmla="*/ 179108 h 916720"/>
              <a:gd name="connsiteX18" fmla="*/ 4454566 w 4597081"/>
              <a:gd name="connsiteY18" fmla="*/ 190663 h 916720"/>
              <a:gd name="connsiteX19" fmla="*/ 4479602 w 4597081"/>
              <a:gd name="connsiteY19" fmla="*/ 207996 h 916720"/>
              <a:gd name="connsiteX20" fmla="*/ 4498861 w 4597081"/>
              <a:gd name="connsiteY20" fmla="*/ 223403 h 916720"/>
              <a:gd name="connsiteX21" fmla="*/ 4516194 w 4597081"/>
              <a:gd name="connsiteY21" fmla="*/ 244588 h 916720"/>
              <a:gd name="connsiteX22" fmla="*/ 4535453 w 4597081"/>
              <a:gd name="connsiteY22" fmla="*/ 269624 h 916720"/>
              <a:gd name="connsiteX23" fmla="*/ 4548934 w 4597081"/>
              <a:gd name="connsiteY23" fmla="*/ 288883 h 916720"/>
              <a:gd name="connsiteX24" fmla="*/ 4564341 w 4597081"/>
              <a:gd name="connsiteY24" fmla="*/ 313919 h 916720"/>
              <a:gd name="connsiteX25" fmla="*/ 4572045 w 4597081"/>
              <a:gd name="connsiteY25" fmla="*/ 342808 h 916720"/>
              <a:gd name="connsiteX26" fmla="*/ 4585526 w 4597081"/>
              <a:gd name="connsiteY26" fmla="*/ 371696 h 916720"/>
              <a:gd name="connsiteX27" fmla="*/ 4589378 w 4597081"/>
              <a:gd name="connsiteY27" fmla="*/ 398658 h 916720"/>
              <a:gd name="connsiteX28" fmla="*/ 4593229 w 4597081"/>
              <a:gd name="connsiteY28" fmla="*/ 427547 h 916720"/>
              <a:gd name="connsiteX29" fmla="*/ 4597081 w 4597081"/>
              <a:gd name="connsiteY29" fmla="*/ 456435 h 916720"/>
              <a:gd name="connsiteX30" fmla="*/ 4593229 w 4597081"/>
              <a:gd name="connsiteY30" fmla="*/ 489175 h 916720"/>
              <a:gd name="connsiteX31" fmla="*/ 4589378 w 4597081"/>
              <a:gd name="connsiteY31" fmla="*/ 521915 h 916720"/>
              <a:gd name="connsiteX32" fmla="*/ 4585526 w 4597081"/>
              <a:gd name="connsiteY32" fmla="*/ 550803 h 916720"/>
              <a:gd name="connsiteX33" fmla="*/ 4572045 w 4597081"/>
              <a:gd name="connsiteY33" fmla="*/ 577765 h 916720"/>
              <a:gd name="connsiteX34" fmla="*/ 4560489 w 4597081"/>
              <a:gd name="connsiteY34" fmla="*/ 602802 h 916720"/>
              <a:gd name="connsiteX35" fmla="*/ 4548934 w 4597081"/>
              <a:gd name="connsiteY35" fmla="*/ 627838 h 916720"/>
              <a:gd name="connsiteX36" fmla="*/ 4531601 w 4597081"/>
              <a:gd name="connsiteY36" fmla="*/ 652875 h 916720"/>
              <a:gd name="connsiteX37" fmla="*/ 4516194 w 4597081"/>
              <a:gd name="connsiteY37" fmla="*/ 672134 h 916720"/>
              <a:gd name="connsiteX38" fmla="*/ 4495009 w 4597081"/>
              <a:gd name="connsiteY38" fmla="*/ 693318 h 916720"/>
              <a:gd name="connsiteX39" fmla="*/ 4475751 w 4597081"/>
              <a:gd name="connsiteY39" fmla="*/ 708725 h 916720"/>
              <a:gd name="connsiteX40" fmla="*/ 4450714 w 4597081"/>
              <a:gd name="connsiteY40" fmla="*/ 726058 h 916720"/>
              <a:gd name="connsiteX41" fmla="*/ 4425678 w 4597081"/>
              <a:gd name="connsiteY41" fmla="*/ 737614 h 916720"/>
              <a:gd name="connsiteX42" fmla="*/ 4402567 w 4597081"/>
              <a:gd name="connsiteY42" fmla="*/ 749169 h 916720"/>
              <a:gd name="connsiteX43" fmla="*/ 4377531 w 4597081"/>
              <a:gd name="connsiteY43" fmla="*/ 758798 h 916720"/>
              <a:gd name="connsiteX44" fmla="*/ 4348642 w 4597081"/>
              <a:gd name="connsiteY44" fmla="*/ 762650 h 916720"/>
              <a:gd name="connsiteX45" fmla="*/ 4319754 w 4597081"/>
              <a:gd name="connsiteY45" fmla="*/ 762650 h 916720"/>
              <a:gd name="connsiteX46" fmla="*/ 4308199 w 4597081"/>
              <a:gd name="connsiteY46" fmla="*/ 762650 h 916720"/>
              <a:gd name="connsiteX47" fmla="*/ 797315 w 4597081"/>
              <a:gd name="connsiteY47" fmla="*/ 762650 h 916720"/>
              <a:gd name="connsiteX48" fmla="*/ 778056 w 4597081"/>
              <a:gd name="connsiteY48" fmla="*/ 781908 h 916720"/>
              <a:gd name="connsiteX49" fmla="*/ 745316 w 4597081"/>
              <a:gd name="connsiteY49" fmla="*/ 810797 h 916720"/>
              <a:gd name="connsiteX50" fmla="*/ 712576 w 4597081"/>
              <a:gd name="connsiteY50" fmla="*/ 835833 h 916720"/>
              <a:gd name="connsiteX51" fmla="*/ 672133 w 4597081"/>
              <a:gd name="connsiteY51" fmla="*/ 860870 h 916720"/>
              <a:gd name="connsiteX52" fmla="*/ 635541 w 4597081"/>
              <a:gd name="connsiteY52" fmla="*/ 880128 h 916720"/>
              <a:gd name="connsiteX53" fmla="*/ 591246 w 4597081"/>
              <a:gd name="connsiteY53" fmla="*/ 897461 h 916720"/>
              <a:gd name="connsiteX54" fmla="*/ 548876 w 4597081"/>
              <a:gd name="connsiteY54" fmla="*/ 905165 h 916720"/>
              <a:gd name="connsiteX55" fmla="*/ 500729 w 4597081"/>
              <a:gd name="connsiteY55" fmla="*/ 912868 h 916720"/>
              <a:gd name="connsiteX56" fmla="*/ 456434 w 4597081"/>
              <a:gd name="connsiteY56" fmla="*/ 916720 h 916720"/>
              <a:gd name="connsiteX57" fmla="*/ 406361 w 4597081"/>
              <a:gd name="connsiteY57" fmla="*/ 912868 h 916720"/>
              <a:gd name="connsiteX58" fmla="*/ 362066 w 4597081"/>
              <a:gd name="connsiteY58" fmla="*/ 905165 h 916720"/>
              <a:gd name="connsiteX59" fmla="*/ 321622 w 4597081"/>
              <a:gd name="connsiteY59" fmla="*/ 897461 h 916720"/>
              <a:gd name="connsiteX60" fmla="*/ 277327 w 4597081"/>
              <a:gd name="connsiteY60" fmla="*/ 880128 h 916720"/>
              <a:gd name="connsiteX61" fmla="*/ 236884 w 4597081"/>
              <a:gd name="connsiteY61" fmla="*/ 860870 h 916720"/>
              <a:gd name="connsiteX62" fmla="*/ 200292 w 4597081"/>
              <a:gd name="connsiteY62" fmla="*/ 835833 h 916720"/>
              <a:gd name="connsiteX63" fmla="*/ 167552 w 4597081"/>
              <a:gd name="connsiteY63" fmla="*/ 810797 h 916720"/>
              <a:gd name="connsiteX64" fmla="*/ 134812 w 4597081"/>
              <a:gd name="connsiteY64" fmla="*/ 781908 h 916720"/>
              <a:gd name="connsiteX65" fmla="*/ 102072 w 4597081"/>
              <a:gd name="connsiteY65" fmla="*/ 749168 h 916720"/>
              <a:gd name="connsiteX66" fmla="*/ 77035 w 4597081"/>
              <a:gd name="connsiteY66" fmla="*/ 712577 h 916720"/>
              <a:gd name="connsiteX67" fmla="*/ 51999 w 4597081"/>
              <a:gd name="connsiteY67" fmla="*/ 675985 h 916720"/>
              <a:gd name="connsiteX68" fmla="*/ 36592 w 4597081"/>
              <a:gd name="connsiteY68" fmla="*/ 635541 h 916720"/>
              <a:gd name="connsiteX69" fmla="*/ 21185 w 4597081"/>
              <a:gd name="connsiteY69" fmla="*/ 595098 h 916720"/>
              <a:gd name="connsiteX70" fmla="*/ 7704 w 4597081"/>
              <a:gd name="connsiteY70" fmla="*/ 550803 h 916720"/>
              <a:gd name="connsiteX71" fmla="*/ 0 w 4597081"/>
              <a:gd name="connsiteY71" fmla="*/ 504581 h 916720"/>
              <a:gd name="connsiteX72" fmla="*/ 0 w 4597081"/>
              <a:gd name="connsiteY72" fmla="*/ 456434 h 916720"/>
              <a:gd name="connsiteX73" fmla="*/ 0 w 4597081"/>
              <a:gd name="connsiteY73" fmla="*/ 412139 h 916720"/>
              <a:gd name="connsiteX74" fmla="*/ 7704 w 4597081"/>
              <a:gd name="connsiteY74" fmla="*/ 365918 h 916720"/>
              <a:gd name="connsiteX75" fmla="*/ 21185 w 4597081"/>
              <a:gd name="connsiteY75" fmla="*/ 321622 h 916720"/>
              <a:gd name="connsiteX76" fmla="*/ 36592 w 4597081"/>
              <a:gd name="connsiteY76" fmla="*/ 281179 h 916720"/>
              <a:gd name="connsiteX77" fmla="*/ 51999 w 4597081"/>
              <a:gd name="connsiteY77" fmla="*/ 240735 h 916720"/>
              <a:gd name="connsiteX78" fmla="*/ 77035 w 4597081"/>
              <a:gd name="connsiteY78" fmla="*/ 204144 h 916720"/>
              <a:gd name="connsiteX79" fmla="*/ 102072 w 4597081"/>
              <a:gd name="connsiteY79" fmla="*/ 167552 h 916720"/>
              <a:gd name="connsiteX80" fmla="*/ 134812 w 4597081"/>
              <a:gd name="connsiteY80" fmla="*/ 134812 h 916720"/>
              <a:gd name="connsiteX81" fmla="*/ 167552 w 4597081"/>
              <a:gd name="connsiteY81" fmla="*/ 105924 h 916720"/>
              <a:gd name="connsiteX82" fmla="*/ 200292 w 4597081"/>
              <a:gd name="connsiteY82" fmla="*/ 77035 h 916720"/>
              <a:gd name="connsiteX83" fmla="*/ 236884 w 4597081"/>
              <a:gd name="connsiteY83" fmla="*/ 57777 h 916720"/>
              <a:gd name="connsiteX84" fmla="*/ 277327 w 4597081"/>
              <a:gd name="connsiteY84" fmla="*/ 36592 h 916720"/>
              <a:gd name="connsiteX85" fmla="*/ 321622 w 4597081"/>
              <a:gd name="connsiteY85" fmla="*/ 21185 h 916720"/>
              <a:gd name="connsiteX86" fmla="*/ 362066 w 4597081"/>
              <a:gd name="connsiteY86" fmla="*/ 7704 h 916720"/>
              <a:gd name="connsiteX87" fmla="*/ 406361 w 4597081"/>
              <a:gd name="connsiteY87" fmla="*/ 3852 h 91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597081" h="916720">
                <a:moveTo>
                  <a:pt x="456434" y="0"/>
                </a:moveTo>
                <a:lnTo>
                  <a:pt x="500729" y="3852"/>
                </a:lnTo>
                <a:lnTo>
                  <a:pt x="548876" y="7704"/>
                </a:lnTo>
                <a:lnTo>
                  <a:pt x="591246" y="21185"/>
                </a:lnTo>
                <a:lnTo>
                  <a:pt x="635541" y="36592"/>
                </a:lnTo>
                <a:lnTo>
                  <a:pt x="672133" y="57777"/>
                </a:lnTo>
                <a:lnTo>
                  <a:pt x="712576" y="77035"/>
                </a:lnTo>
                <a:lnTo>
                  <a:pt x="745316" y="105924"/>
                </a:lnTo>
                <a:lnTo>
                  <a:pt x="778056" y="134812"/>
                </a:lnTo>
                <a:lnTo>
                  <a:pt x="797316" y="154071"/>
                </a:lnTo>
                <a:lnTo>
                  <a:pt x="4315902" y="154071"/>
                </a:lnTo>
                <a:lnTo>
                  <a:pt x="4319754" y="154071"/>
                </a:lnTo>
                <a:lnTo>
                  <a:pt x="4323606" y="154071"/>
                </a:lnTo>
                <a:lnTo>
                  <a:pt x="4327458" y="154071"/>
                </a:lnTo>
                <a:lnTo>
                  <a:pt x="4356346" y="154071"/>
                </a:lnTo>
                <a:lnTo>
                  <a:pt x="4381382" y="163701"/>
                </a:lnTo>
                <a:lnTo>
                  <a:pt x="4410271" y="171404"/>
                </a:lnTo>
                <a:lnTo>
                  <a:pt x="4433381" y="179108"/>
                </a:lnTo>
                <a:lnTo>
                  <a:pt x="4454566" y="190663"/>
                </a:lnTo>
                <a:lnTo>
                  <a:pt x="4479602" y="207996"/>
                </a:lnTo>
                <a:lnTo>
                  <a:pt x="4498861" y="223403"/>
                </a:lnTo>
                <a:lnTo>
                  <a:pt x="4516194" y="244588"/>
                </a:lnTo>
                <a:lnTo>
                  <a:pt x="4535453" y="269624"/>
                </a:lnTo>
                <a:lnTo>
                  <a:pt x="4548934" y="288883"/>
                </a:lnTo>
                <a:lnTo>
                  <a:pt x="4564341" y="313919"/>
                </a:lnTo>
                <a:lnTo>
                  <a:pt x="4572045" y="342808"/>
                </a:lnTo>
                <a:lnTo>
                  <a:pt x="4585526" y="371696"/>
                </a:lnTo>
                <a:lnTo>
                  <a:pt x="4589378" y="398658"/>
                </a:lnTo>
                <a:lnTo>
                  <a:pt x="4593229" y="427547"/>
                </a:lnTo>
                <a:lnTo>
                  <a:pt x="4597081" y="456435"/>
                </a:lnTo>
                <a:lnTo>
                  <a:pt x="4593229" y="489175"/>
                </a:lnTo>
                <a:lnTo>
                  <a:pt x="4589378" y="521915"/>
                </a:lnTo>
                <a:lnTo>
                  <a:pt x="4585526" y="550803"/>
                </a:lnTo>
                <a:lnTo>
                  <a:pt x="4572045" y="577765"/>
                </a:lnTo>
                <a:lnTo>
                  <a:pt x="4560489" y="602802"/>
                </a:lnTo>
                <a:lnTo>
                  <a:pt x="4548934" y="627838"/>
                </a:lnTo>
                <a:lnTo>
                  <a:pt x="4531601" y="652875"/>
                </a:lnTo>
                <a:lnTo>
                  <a:pt x="4516194" y="672134"/>
                </a:lnTo>
                <a:lnTo>
                  <a:pt x="4495009" y="693318"/>
                </a:lnTo>
                <a:lnTo>
                  <a:pt x="4475751" y="708725"/>
                </a:lnTo>
                <a:lnTo>
                  <a:pt x="4450714" y="726058"/>
                </a:lnTo>
                <a:lnTo>
                  <a:pt x="4425678" y="737614"/>
                </a:lnTo>
                <a:lnTo>
                  <a:pt x="4402567" y="749169"/>
                </a:lnTo>
                <a:lnTo>
                  <a:pt x="4377531" y="758798"/>
                </a:lnTo>
                <a:lnTo>
                  <a:pt x="4348642" y="762650"/>
                </a:lnTo>
                <a:lnTo>
                  <a:pt x="4319754" y="762650"/>
                </a:lnTo>
                <a:lnTo>
                  <a:pt x="4308199" y="762650"/>
                </a:lnTo>
                <a:lnTo>
                  <a:pt x="797315" y="762650"/>
                </a:lnTo>
                <a:lnTo>
                  <a:pt x="778056" y="781908"/>
                </a:lnTo>
                <a:lnTo>
                  <a:pt x="745316" y="810797"/>
                </a:lnTo>
                <a:lnTo>
                  <a:pt x="712576" y="835833"/>
                </a:lnTo>
                <a:lnTo>
                  <a:pt x="672133" y="860870"/>
                </a:lnTo>
                <a:lnTo>
                  <a:pt x="635541" y="880128"/>
                </a:lnTo>
                <a:lnTo>
                  <a:pt x="591246" y="897461"/>
                </a:lnTo>
                <a:lnTo>
                  <a:pt x="548876" y="905165"/>
                </a:lnTo>
                <a:lnTo>
                  <a:pt x="500729" y="912868"/>
                </a:lnTo>
                <a:lnTo>
                  <a:pt x="456434" y="916720"/>
                </a:lnTo>
                <a:lnTo>
                  <a:pt x="406361" y="912868"/>
                </a:lnTo>
                <a:lnTo>
                  <a:pt x="362066" y="905165"/>
                </a:lnTo>
                <a:lnTo>
                  <a:pt x="321622" y="897461"/>
                </a:lnTo>
                <a:lnTo>
                  <a:pt x="277327" y="880128"/>
                </a:lnTo>
                <a:lnTo>
                  <a:pt x="236884" y="860870"/>
                </a:lnTo>
                <a:lnTo>
                  <a:pt x="200292" y="835833"/>
                </a:lnTo>
                <a:lnTo>
                  <a:pt x="167552" y="810797"/>
                </a:lnTo>
                <a:lnTo>
                  <a:pt x="134812" y="781908"/>
                </a:lnTo>
                <a:lnTo>
                  <a:pt x="102072" y="749168"/>
                </a:lnTo>
                <a:lnTo>
                  <a:pt x="77035" y="712577"/>
                </a:lnTo>
                <a:lnTo>
                  <a:pt x="51999" y="675985"/>
                </a:lnTo>
                <a:lnTo>
                  <a:pt x="36592" y="635541"/>
                </a:lnTo>
                <a:lnTo>
                  <a:pt x="21185" y="595098"/>
                </a:lnTo>
                <a:lnTo>
                  <a:pt x="7704" y="550803"/>
                </a:lnTo>
                <a:lnTo>
                  <a:pt x="0" y="504581"/>
                </a:lnTo>
                <a:lnTo>
                  <a:pt x="0" y="456434"/>
                </a:lnTo>
                <a:lnTo>
                  <a:pt x="0" y="412139"/>
                </a:lnTo>
                <a:lnTo>
                  <a:pt x="7704" y="365918"/>
                </a:lnTo>
                <a:lnTo>
                  <a:pt x="21185" y="321622"/>
                </a:lnTo>
                <a:lnTo>
                  <a:pt x="36592" y="281179"/>
                </a:lnTo>
                <a:lnTo>
                  <a:pt x="51999" y="240735"/>
                </a:lnTo>
                <a:lnTo>
                  <a:pt x="77035" y="204144"/>
                </a:lnTo>
                <a:lnTo>
                  <a:pt x="102072" y="167552"/>
                </a:lnTo>
                <a:lnTo>
                  <a:pt x="134812" y="134812"/>
                </a:lnTo>
                <a:lnTo>
                  <a:pt x="167552" y="105924"/>
                </a:lnTo>
                <a:lnTo>
                  <a:pt x="200292" y="77035"/>
                </a:lnTo>
                <a:lnTo>
                  <a:pt x="236884" y="57777"/>
                </a:lnTo>
                <a:lnTo>
                  <a:pt x="277327" y="36592"/>
                </a:lnTo>
                <a:lnTo>
                  <a:pt x="321622" y="21185"/>
                </a:lnTo>
                <a:lnTo>
                  <a:pt x="362066" y="7704"/>
                </a:lnTo>
                <a:lnTo>
                  <a:pt x="406361" y="3852"/>
                </a:ln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59" name="Text Box 8">
            <a:extLst>
              <a:ext uri="{FF2B5EF4-FFF2-40B4-BE49-F238E27FC236}">
                <a16:creationId xmlns:a16="http://schemas.microsoft.com/office/drawing/2014/main" id="{65E10B17-FC30-4401-A1D8-B3EC24C145AF}"/>
              </a:ext>
            </a:extLst>
          </p:cNvPr>
          <p:cNvSpPr txBox="1">
            <a:spLocks noChangeArrowheads="1"/>
          </p:cNvSpPr>
          <p:nvPr/>
        </p:nvSpPr>
        <p:spPr bwMode="auto">
          <a:xfrm>
            <a:off x="9921870" y="3581535"/>
            <a:ext cx="1438392" cy="523220"/>
          </a:xfrm>
          <a:prstGeom prst="rect">
            <a:avLst/>
          </a:prstGeom>
          <a:noFill/>
          <a:ln w="9525">
            <a:noFill/>
            <a:miter lim="800000"/>
            <a:headEnd/>
            <a:tailEnd/>
          </a:ln>
          <a:effectLst/>
        </p:spPr>
        <p:txBody>
          <a:bodyPr wrap="square" anchor="ctr">
            <a:spAutoFit/>
          </a:bodyPr>
          <a:lstStyle/>
          <a:p>
            <a:pPr algn="ctr">
              <a:defRPr/>
            </a:pPr>
            <a:r>
              <a:rPr lang="en-US" altLang="ko-KR" sz="2800" spc="300" dirty="0">
                <a:solidFill>
                  <a:schemeClr val="bg1"/>
                </a:solidFill>
                <a:latin typeface="+mj-lt"/>
                <a:ea typeface="+mj-ea"/>
                <a:cs typeface="+mj-cs"/>
              </a:rPr>
              <a:t>02</a:t>
            </a:r>
          </a:p>
        </p:txBody>
      </p:sp>
      <p:sp>
        <p:nvSpPr>
          <p:cNvPr id="2" name="제목 1">
            <a:extLst>
              <a:ext uri="{FF2B5EF4-FFF2-40B4-BE49-F238E27FC236}">
                <a16:creationId xmlns:a16="http://schemas.microsoft.com/office/drawing/2014/main" id="{C1CD93F4-CD03-4FC3-B5ED-7221CE5AB6BF}"/>
              </a:ext>
            </a:extLst>
          </p:cNvPr>
          <p:cNvSpPr>
            <a:spLocks noGrp="1"/>
          </p:cNvSpPr>
          <p:nvPr>
            <p:ph type="title"/>
          </p:nvPr>
        </p:nvSpPr>
        <p:spPr/>
        <p:txBody>
          <a:bodyPr vert="horz"/>
          <a:lstStyle/>
          <a:p>
            <a:r>
              <a:rPr lang="en-US" altLang="ko-KR" dirty="0"/>
              <a:t>OPTIMAZATIONS</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55" name="자유형: 도형 54">
            <a:extLst>
              <a:ext uri="{FF2B5EF4-FFF2-40B4-BE49-F238E27FC236}">
                <a16:creationId xmlns:a16="http://schemas.microsoft.com/office/drawing/2014/main" id="{DE3644A7-FD8D-496F-B629-716C24890DC8}"/>
              </a:ext>
            </a:extLst>
          </p:cNvPr>
          <p:cNvSpPr>
            <a:spLocks/>
          </p:cNvSpPr>
          <p:nvPr/>
        </p:nvSpPr>
        <p:spPr bwMode="auto">
          <a:xfrm>
            <a:off x="1028701" y="2502911"/>
            <a:ext cx="5321308" cy="1061141"/>
          </a:xfrm>
          <a:custGeom>
            <a:avLst/>
            <a:gdLst>
              <a:gd name="connsiteX0" fmla="*/ 456434 w 4597081"/>
              <a:gd name="connsiteY0" fmla="*/ 0 h 916720"/>
              <a:gd name="connsiteX1" fmla="*/ 500729 w 4597081"/>
              <a:gd name="connsiteY1" fmla="*/ 3852 h 916720"/>
              <a:gd name="connsiteX2" fmla="*/ 548876 w 4597081"/>
              <a:gd name="connsiteY2" fmla="*/ 7704 h 916720"/>
              <a:gd name="connsiteX3" fmla="*/ 591246 w 4597081"/>
              <a:gd name="connsiteY3" fmla="*/ 21185 h 916720"/>
              <a:gd name="connsiteX4" fmla="*/ 635541 w 4597081"/>
              <a:gd name="connsiteY4" fmla="*/ 36592 h 916720"/>
              <a:gd name="connsiteX5" fmla="*/ 672133 w 4597081"/>
              <a:gd name="connsiteY5" fmla="*/ 57777 h 916720"/>
              <a:gd name="connsiteX6" fmla="*/ 712576 w 4597081"/>
              <a:gd name="connsiteY6" fmla="*/ 77035 h 916720"/>
              <a:gd name="connsiteX7" fmla="*/ 745316 w 4597081"/>
              <a:gd name="connsiteY7" fmla="*/ 105924 h 916720"/>
              <a:gd name="connsiteX8" fmla="*/ 778056 w 4597081"/>
              <a:gd name="connsiteY8" fmla="*/ 134812 h 916720"/>
              <a:gd name="connsiteX9" fmla="*/ 797316 w 4597081"/>
              <a:gd name="connsiteY9" fmla="*/ 154071 h 916720"/>
              <a:gd name="connsiteX10" fmla="*/ 4315902 w 4597081"/>
              <a:gd name="connsiteY10" fmla="*/ 154071 h 916720"/>
              <a:gd name="connsiteX11" fmla="*/ 4319754 w 4597081"/>
              <a:gd name="connsiteY11" fmla="*/ 154071 h 916720"/>
              <a:gd name="connsiteX12" fmla="*/ 4323606 w 4597081"/>
              <a:gd name="connsiteY12" fmla="*/ 154071 h 916720"/>
              <a:gd name="connsiteX13" fmla="*/ 4327458 w 4597081"/>
              <a:gd name="connsiteY13" fmla="*/ 154071 h 916720"/>
              <a:gd name="connsiteX14" fmla="*/ 4356346 w 4597081"/>
              <a:gd name="connsiteY14" fmla="*/ 154071 h 916720"/>
              <a:gd name="connsiteX15" fmla="*/ 4381382 w 4597081"/>
              <a:gd name="connsiteY15" fmla="*/ 163701 h 916720"/>
              <a:gd name="connsiteX16" fmla="*/ 4410271 w 4597081"/>
              <a:gd name="connsiteY16" fmla="*/ 171404 h 916720"/>
              <a:gd name="connsiteX17" fmla="*/ 4433381 w 4597081"/>
              <a:gd name="connsiteY17" fmla="*/ 179108 h 916720"/>
              <a:gd name="connsiteX18" fmla="*/ 4454566 w 4597081"/>
              <a:gd name="connsiteY18" fmla="*/ 190663 h 916720"/>
              <a:gd name="connsiteX19" fmla="*/ 4479602 w 4597081"/>
              <a:gd name="connsiteY19" fmla="*/ 207996 h 916720"/>
              <a:gd name="connsiteX20" fmla="*/ 4498861 w 4597081"/>
              <a:gd name="connsiteY20" fmla="*/ 223403 h 916720"/>
              <a:gd name="connsiteX21" fmla="*/ 4516194 w 4597081"/>
              <a:gd name="connsiteY21" fmla="*/ 244588 h 916720"/>
              <a:gd name="connsiteX22" fmla="*/ 4535453 w 4597081"/>
              <a:gd name="connsiteY22" fmla="*/ 269624 h 916720"/>
              <a:gd name="connsiteX23" fmla="*/ 4548934 w 4597081"/>
              <a:gd name="connsiteY23" fmla="*/ 288883 h 916720"/>
              <a:gd name="connsiteX24" fmla="*/ 4564341 w 4597081"/>
              <a:gd name="connsiteY24" fmla="*/ 313919 h 916720"/>
              <a:gd name="connsiteX25" fmla="*/ 4572045 w 4597081"/>
              <a:gd name="connsiteY25" fmla="*/ 342808 h 916720"/>
              <a:gd name="connsiteX26" fmla="*/ 4585526 w 4597081"/>
              <a:gd name="connsiteY26" fmla="*/ 371696 h 916720"/>
              <a:gd name="connsiteX27" fmla="*/ 4589378 w 4597081"/>
              <a:gd name="connsiteY27" fmla="*/ 398658 h 916720"/>
              <a:gd name="connsiteX28" fmla="*/ 4593229 w 4597081"/>
              <a:gd name="connsiteY28" fmla="*/ 427547 h 916720"/>
              <a:gd name="connsiteX29" fmla="*/ 4597081 w 4597081"/>
              <a:gd name="connsiteY29" fmla="*/ 456435 h 916720"/>
              <a:gd name="connsiteX30" fmla="*/ 4593229 w 4597081"/>
              <a:gd name="connsiteY30" fmla="*/ 489175 h 916720"/>
              <a:gd name="connsiteX31" fmla="*/ 4589378 w 4597081"/>
              <a:gd name="connsiteY31" fmla="*/ 521915 h 916720"/>
              <a:gd name="connsiteX32" fmla="*/ 4585526 w 4597081"/>
              <a:gd name="connsiteY32" fmla="*/ 550803 h 916720"/>
              <a:gd name="connsiteX33" fmla="*/ 4572045 w 4597081"/>
              <a:gd name="connsiteY33" fmla="*/ 577765 h 916720"/>
              <a:gd name="connsiteX34" fmla="*/ 4560489 w 4597081"/>
              <a:gd name="connsiteY34" fmla="*/ 602802 h 916720"/>
              <a:gd name="connsiteX35" fmla="*/ 4548934 w 4597081"/>
              <a:gd name="connsiteY35" fmla="*/ 627838 h 916720"/>
              <a:gd name="connsiteX36" fmla="*/ 4531601 w 4597081"/>
              <a:gd name="connsiteY36" fmla="*/ 652875 h 916720"/>
              <a:gd name="connsiteX37" fmla="*/ 4516194 w 4597081"/>
              <a:gd name="connsiteY37" fmla="*/ 672134 h 916720"/>
              <a:gd name="connsiteX38" fmla="*/ 4495009 w 4597081"/>
              <a:gd name="connsiteY38" fmla="*/ 693318 h 916720"/>
              <a:gd name="connsiteX39" fmla="*/ 4475751 w 4597081"/>
              <a:gd name="connsiteY39" fmla="*/ 708725 h 916720"/>
              <a:gd name="connsiteX40" fmla="*/ 4450714 w 4597081"/>
              <a:gd name="connsiteY40" fmla="*/ 726058 h 916720"/>
              <a:gd name="connsiteX41" fmla="*/ 4425678 w 4597081"/>
              <a:gd name="connsiteY41" fmla="*/ 737614 h 916720"/>
              <a:gd name="connsiteX42" fmla="*/ 4402567 w 4597081"/>
              <a:gd name="connsiteY42" fmla="*/ 749169 h 916720"/>
              <a:gd name="connsiteX43" fmla="*/ 4377531 w 4597081"/>
              <a:gd name="connsiteY43" fmla="*/ 758798 h 916720"/>
              <a:gd name="connsiteX44" fmla="*/ 4348642 w 4597081"/>
              <a:gd name="connsiteY44" fmla="*/ 762650 h 916720"/>
              <a:gd name="connsiteX45" fmla="*/ 4319754 w 4597081"/>
              <a:gd name="connsiteY45" fmla="*/ 762650 h 916720"/>
              <a:gd name="connsiteX46" fmla="*/ 4308199 w 4597081"/>
              <a:gd name="connsiteY46" fmla="*/ 762650 h 916720"/>
              <a:gd name="connsiteX47" fmla="*/ 797315 w 4597081"/>
              <a:gd name="connsiteY47" fmla="*/ 762650 h 916720"/>
              <a:gd name="connsiteX48" fmla="*/ 778056 w 4597081"/>
              <a:gd name="connsiteY48" fmla="*/ 781908 h 916720"/>
              <a:gd name="connsiteX49" fmla="*/ 745316 w 4597081"/>
              <a:gd name="connsiteY49" fmla="*/ 810797 h 916720"/>
              <a:gd name="connsiteX50" fmla="*/ 712576 w 4597081"/>
              <a:gd name="connsiteY50" fmla="*/ 835833 h 916720"/>
              <a:gd name="connsiteX51" fmla="*/ 672133 w 4597081"/>
              <a:gd name="connsiteY51" fmla="*/ 860870 h 916720"/>
              <a:gd name="connsiteX52" fmla="*/ 635541 w 4597081"/>
              <a:gd name="connsiteY52" fmla="*/ 880128 h 916720"/>
              <a:gd name="connsiteX53" fmla="*/ 591246 w 4597081"/>
              <a:gd name="connsiteY53" fmla="*/ 897461 h 916720"/>
              <a:gd name="connsiteX54" fmla="*/ 548876 w 4597081"/>
              <a:gd name="connsiteY54" fmla="*/ 905165 h 916720"/>
              <a:gd name="connsiteX55" fmla="*/ 500729 w 4597081"/>
              <a:gd name="connsiteY55" fmla="*/ 912868 h 916720"/>
              <a:gd name="connsiteX56" fmla="*/ 456434 w 4597081"/>
              <a:gd name="connsiteY56" fmla="*/ 916720 h 916720"/>
              <a:gd name="connsiteX57" fmla="*/ 406361 w 4597081"/>
              <a:gd name="connsiteY57" fmla="*/ 912868 h 916720"/>
              <a:gd name="connsiteX58" fmla="*/ 362066 w 4597081"/>
              <a:gd name="connsiteY58" fmla="*/ 905165 h 916720"/>
              <a:gd name="connsiteX59" fmla="*/ 321622 w 4597081"/>
              <a:gd name="connsiteY59" fmla="*/ 897461 h 916720"/>
              <a:gd name="connsiteX60" fmla="*/ 277327 w 4597081"/>
              <a:gd name="connsiteY60" fmla="*/ 880128 h 916720"/>
              <a:gd name="connsiteX61" fmla="*/ 236884 w 4597081"/>
              <a:gd name="connsiteY61" fmla="*/ 860870 h 916720"/>
              <a:gd name="connsiteX62" fmla="*/ 200292 w 4597081"/>
              <a:gd name="connsiteY62" fmla="*/ 835833 h 916720"/>
              <a:gd name="connsiteX63" fmla="*/ 167552 w 4597081"/>
              <a:gd name="connsiteY63" fmla="*/ 810797 h 916720"/>
              <a:gd name="connsiteX64" fmla="*/ 134812 w 4597081"/>
              <a:gd name="connsiteY64" fmla="*/ 781908 h 916720"/>
              <a:gd name="connsiteX65" fmla="*/ 102072 w 4597081"/>
              <a:gd name="connsiteY65" fmla="*/ 749168 h 916720"/>
              <a:gd name="connsiteX66" fmla="*/ 77035 w 4597081"/>
              <a:gd name="connsiteY66" fmla="*/ 712577 h 916720"/>
              <a:gd name="connsiteX67" fmla="*/ 51999 w 4597081"/>
              <a:gd name="connsiteY67" fmla="*/ 675985 h 916720"/>
              <a:gd name="connsiteX68" fmla="*/ 36592 w 4597081"/>
              <a:gd name="connsiteY68" fmla="*/ 635541 h 916720"/>
              <a:gd name="connsiteX69" fmla="*/ 21185 w 4597081"/>
              <a:gd name="connsiteY69" fmla="*/ 595098 h 916720"/>
              <a:gd name="connsiteX70" fmla="*/ 7704 w 4597081"/>
              <a:gd name="connsiteY70" fmla="*/ 550803 h 916720"/>
              <a:gd name="connsiteX71" fmla="*/ 0 w 4597081"/>
              <a:gd name="connsiteY71" fmla="*/ 504581 h 916720"/>
              <a:gd name="connsiteX72" fmla="*/ 0 w 4597081"/>
              <a:gd name="connsiteY72" fmla="*/ 456434 h 916720"/>
              <a:gd name="connsiteX73" fmla="*/ 0 w 4597081"/>
              <a:gd name="connsiteY73" fmla="*/ 412139 h 916720"/>
              <a:gd name="connsiteX74" fmla="*/ 7704 w 4597081"/>
              <a:gd name="connsiteY74" fmla="*/ 365918 h 916720"/>
              <a:gd name="connsiteX75" fmla="*/ 21185 w 4597081"/>
              <a:gd name="connsiteY75" fmla="*/ 321622 h 916720"/>
              <a:gd name="connsiteX76" fmla="*/ 36592 w 4597081"/>
              <a:gd name="connsiteY76" fmla="*/ 281179 h 916720"/>
              <a:gd name="connsiteX77" fmla="*/ 51999 w 4597081"/>
              <a:gd name="connsiteY77" fmla="*/ 240735 h 916720"/>
              <a:gd name="connsiteX78" fmla="*/ 77035 w 4597081"/>
              <a:gd name="connsiteY78" fmla="*/ 204144 h 916720"/>
              <a:gd name="connsiteX79" fmla="*/ 102072 w 4597081"/>
              <a:gd name="connsiteY79" fmla="*/ 167552 h 916720"/>
              <a:gd name="connsiteX80" fmla="*/ 134812 w 4597081"/>
              <a:gd name="connsiteY80" fmla="*/ 134812 h 916720"/>
              <a:gd name="connsiteX81" fmla="*/ 167552 w 4597081"/>
              <a:gd name="connsiteY81" fmla="*/ 105924 h 916720"/>
              <a:gd name="connsiteX82" fmla="*/ 200292 w 4597081"/>
              <a:gd name="connsiteY82" fmla="*/ 77035 h 916720"/>
              <a:gd name="connsiteX83" fmla="*/ 236884 w 4597081"/>
              <a:gd name="connsiteY83" fmla="*/ 57777 h 916720"/>
              <a:gd name="connsiteX84" fmla="*/ 277327 w 4597081"/>
              <a:gd name="connsiteY84" fmla="*/ 36592 h 916720"/>
              <a:gd name="connsiteX85" fmla="*/ 321622 w 4597081"/>
              <a:gd name="connsiteY85" fmla="*/ 21185 h 916720"/>
              <a:gd name="connsiteX86" fmla="*/ 362066 w 4597081"/>
              <a:gd name="connsiteY86" fmla="*/ 7704 h 916720"/>
              <a:gd name="connsiteX87" fmla="*/ 406361 w 4597081"/>
              <a:gd name="connsiteY87" fmla="*/ 3852 h 91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597081" h="916720">
                <a:moveTo>
                  <a:pt x="456434" y="0"/>
                </a:moveTo>
                <a:lnTo>
                  <a:pt x="500729" y="3852"/>
                </a:lnTo>
                <a:lnTo>
                  <a:pt x="548876" y="7704"/>
                </a:lnTo>
                <a:lnTo>
                  <a:pt x="591246" y="21185"/>
                </a:lnTo>
                <a:lnTo>
                  <a:pt x="635541" y="36592"/>
                </a:lnTo>
                <a:lnTo>
                  <a:pt x="672133" y="57777"/>
                </a:lnTo>
                <a:lnTo>
                  <a:pt x="712576" y="77035"/>
                </a:lnTo>
                <a:lnTo>
                  <a:pt x="745316" y="105924"/>
                </a:lnTo>
                <a:lnTo>
                  <a:pt x="778056" y="134812"/>
                </a:lnTo>
                <a:lnTo>
                  <a:pt x="797316" y="154071"/>
                </a:lnTo>
                <a:lnTo>
                  <a:pt x="4315902" y="154071"/>
                </a:lnTo>
                <a:lnTo>
                  <a:pt x="4319754" y="154071"/>
                </a:lnTo>
                <a:lnTo>
                  <a:pt x="4323606" y="154071"/>
                </a:lnTo>
                <a:lnTo>
                  <a:pt x="4327458" y="154071"/>
                </a:lnTo>
                <a:lnTo>
                  <a:pt x="4356346" y="154071"/>
                </a:lnTo>
                <a:lnTo>
                  <a:pt x="4381382" y="163701"/>
                </a:lnTo>
                <a:lnTo>
                  <a:pt x="4410271" y="171404"/>
                </a:lnTo>
                <a:lnTo>
                  <a:pt x="4433381" y="179108"/>
                </a:lnTo>
                <a:lnTo>
                  <a:pt x="4454566" y="190663"/>
                </a:lnTo>
                <a:lnTo>
                  <a:pt x="4479602" y="207996"/>
                </a:lnTo>
                <a:lnTo>
                  <a:pt x="4498861" y="223403"/>
                </a:lnTo>
                <a:lnTo>
                  <a:pt x="4516194" y="244588"/>
                </a:lnTo>
                <a:lnTo>
                  <a:pt x="4535453" y="269624"/>
                </a:lnTo>
                <a:lnTo>
                  <a:pt x="4548934" y="288883"/>
                </a:lnTo>
                <a:lnTo>
                  <a:pt x="4564341" y="313919"/>
                </a:lnTo>
                <a:lnTo>
                  <a:pt x="4572045" y="342808"/>
                </a:lnTo>
                <a:lnTo>
                  <a:pt x="4585526" y="371696"/>
                </a:lnTo>
                <a:lnTo>
                  <a:pt x="4589378" y="398658"/>
                </a:lnTo>
                <a:lnTo>
                  <a:pt x="4593229" y="427547"/>
                </a:lnTo>
                <a:lnTo>
                  <a:pt x="4597081" y="456435"/>
                </a:lnTo>
                <a:lnTo>
                  <a:pt x="4593229" y="489175"/>
                </a:lnTo>
                <a:lnTo>
                  <a:pt x="4589378" y="521915"/>
                </a:lnTo>
                <a:lnTo>
                  <a:pt x="4585526" y="550803"/>
                </a:lnTo>
                <a:lnTo>
                  <a:pt x="4572045" y="577765"/>
                </a:lnTo>
                <a:lnTo>
                  <a:pt x="4560489" y="602802"/>
                </a:lnTo>
                <a:lnTo>
                  <a:pt x="4548934" y="627838"/>
                </a:lnTo>
                <a:lnTo>
                  <a:pt x="4531601" y="652875"/>
                </a:lnTo>
                <a:lnTo>
                  <a:pt x="4516194" y="672134"/>
                </a:lnTo>
                <a:lnTo>
                  <a:pt x="4495009" y="693318"/>
                </a:lnTo>
                <a:lnTo>
                  <a:pt x="4475751" y="708725"/>
                </a:lnTo>
                <a:lnTo>
                  <a:pt x="4450714" y="726058"/>
                </a:lnTo>
                <a:lnTo>
                  <a:pt x="4425678" y="737614"/>
                </a:lnTo>
                <a:lnTo>
                  <a:pt x="4402567" y="749169"/>
                </a:lnTo>
                <a:lnTo>
                  <a:pt x="4377531" y="758798"/>
                </a:lnTo>
                <a:lnTo>
                  <a:pt x="4348642" y="762650"/>
                </a:lnTo>
                <a:lnTo>
                  <a:pt x="4319754" y="762650"/>
                </a:lnTo>
                <a:lnTo>
                  <a:pt x="4308199" y="762650"/>
                </a:lnTo>
                <a:lnTo>
                  <a:pt x="797315" y="762650"/>
                </a:lnTo>
                <a:lnTo>
                  <a:pt x="778056" y="781908"/>
                </a:lnTo>
                <a:lnTo>
                  <a:pt x="745316" y="810797"/>
                </a:lnTo>
                <a:lnTo>
                  <a:pt x="712576" y="835833"/>
                </a:lnTo>
                <a:lnTo>
                  <a:pt x="672133" y="860870"/>
                </a:lnTo>
                <a:lnTo>
                  <a:pt x="635541" y="880128"/>
                </a:lnTo>
                <a:lnTo>
                  <a:pt x="591246" y="897461"/>
                </a:lnTo>
                <a:lnTo>
                  <a:pt x="548876" y="905165"/>
                </a:lnTo>
                <a:lnTo>
                  <a:pt x="500729" y="912868"/>
                </a:lnTo>
                <a:lnTo>
                  <a:pt x="456434" y="916720"/>
                </a:lnTo>
                <a:lnTo>
                  <a:pt x="406361" y="912868"/>
                </a:lnTo>
                <a:lnTo>
                  <a:pt x="362066" y="905165"/>
                </a:lnTo>
                <a:lnTo>
                  <a:pt x="321622" y="897461"/>
                </a:lnTo>
                <a:lnTo>
                  <a:pt x="277327" y="880128"/>
                </a:lnTo>
                <a:lnTo>
                  <a:pt x="236884" y="860870"/>
                </a:lnTo>
                <a:lnTo>
                  <a:pt x="200292" y="835833"/>
                </a:lnTo>
                <a:lnTo>
                  <a:pt x="167552" y="810797"/>
                </a:lnTo>
                <a:lnTo>
                  <a:pt x="134812" y="781908"/>
                </a:lnTo>
                <a:lnTo>
                  <a:pt x="102072" y="749168"/>
                </a:lnTo>
                <a:lnTo>
                  <a:pt x="77035" y="712577"/>
                </a:lnTo>
                <a:lnTo>
                  <a:pt x="51999" y="675985"/>
                </a:lnTo>
                <a:lnTo>
                  <a:pt x="36592" y="635541"/>
                </a:lnTo>
                <a:lnTo>
                  <a:pt x="21185" y="595098"/>
                </a:lnTo>
                <a:lnTo>
                  <a:pt x="7704" y="550803"/>
                </a:lnTo>
                <a:lnTo>
                  <a:pt x="0" y="504581"/>
                </a:lnTo>
                <a:lnTo>
                  <a:pt x="0" y="456434"/>
                </a:lnTo>
                <a:lnTo>
                  <a:pt x="0" y="412139"/>
                </a:lnTo>
                <a:lnTo>
                  <a:pt x="7704" y="365918"/>
                </a:lnTo>
                <a:lnTo>
                  <a:pt x="21185" y="321622"/>
                </a:lnTo>
                <a:lnTo>
                  <a:pt x="36592" y="281179"/>
                </a:lnTo>
                <a:lnTo>
                  <a:pt x="51999" y="240735"/>
                </a:lnTo>
                <a:lnTo>
                  <a:pt x="77035" y="204144"/>
                </a:lnTo>
                <a:lnTo>
                  <a:pt x="102072" y="167552"/>
                </a:lnTo>
                <a:lnTo>
                  <a:pt x="134812" y="134812"/>
                </a:lnTo>
                <a:lnTo>
                  <a:pt x="167552" y="105924"/>
                </a:lnTo>
                <a:lnTo>
                  <a:pt x="200292" y="77035"/>
                </a:lnTo>
                <a:lnTo>
                  <a:pt x="236884" y="57777"/>
                </a:lnTo>
                <a:lnTo>
                  <a:pt x="277327" y="36592"/>
                </a:lnTo>
                <a:lnTo>
                  <a:pt x="321622" y="21185"/>
                </a:lnTo>
                <a:lnTo>
                  <a:pt x="362066" y="7704"/>
                </a:lnTo>
                <a:lnTo>
                  <a:pt x="406361" y="3852"/>
                </a:ln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solidFill>
                <a:schemeClr val="lt1"/>
              </a:solidFill>
            </a:endParaRPr>
          </a:p>
        </p:txBody>
      </p:sp>
      <p:sp>
        <p:nvSpPr>
          <p:cNvPr id="17" name="Text Box 8">
            <a:extLst>
              <a:ext uri="{FF2B5EF4-FFF2-40B4-BE49-F238E27FC236}">
                <a16:creationId xmlns:a16="http://schemas.microsoft.com/office/drawing/2014/main" id="{7645F3D5-F3BD-4053-AE85-5E837EB4EA21}"/>
              </a:ext>
            </a:extLst>
          </p:cNvPr>
          <p:cNvSpPr txBox="1">
            <a:spLocks noChangeArrowheads="1"/>
          </p:cNvSpPr>
          <p:nvPr/>
        </p:nvSpPr>
        <p:spPr bwMode="auto">
          <a:xfrm>
            <a:off x="885709" y="2771870"/>
            <a:ext cx="1438392" cy="523220"/>
          </a:xfrm>
          <a:prstGeom prst="rect">
            <a:avLst/>
          </a:prstGeom>
          <a:noFill/>
          <a:ln w="9525">
            <a:noFill/>
            <a:miter lim="800000"/>
            <a:headEnd/>
            <a:tailEnd/>
          </a:ln>
          <a:effectLst/>
        </p:spPr>
        <p:txBody>
          <a:bodyPr wrap="square" anchor="ctr">
            <a:spAutoFit/>
          </a:bodyPr>
          <a:lstStyle/>
          <a:p>
            <a:pPr algn="ctr">
              <a:defRPr/>
            </a:pPr>
            <a:r>
              <a:rPr lang="en-US" altLang="ko-KR" sz="2800" spc="300" dirty="0">
                <a:solidFill>
                  <a:schemeClr val="bg1"/>
                </a:solidFill>
                <a:latin typeface="+mj-lt"/>
                <a:ea typeface="+mj-ea"/>
                <a:cs typeface="+mj-cs"/>
              </a:rPr>
              <a:t>01</a:t>
            </a:r>
          </a:p>
        </p:txBody>
      </p:sp>
      <p:sp>
        <p:nvSpPr>
          <p:cNvPr id="56" name="자유형: 도형 55">
            <a:extLst>
              <a:ext uri="{FF2B5EF4-FFF2-40B4-BE49-F238E27FC236}">
                <a16:creationId xmlns:a16="http://schemas.microsoft.com/office/drawing/2014/main" id="{C9496793-0EF3-45CD-B6B0-8BB17907F1B4}"/>
              </a:ext>
            </a:extLst>
          </p:cNvPr>
          <p:cNvSpPr>
            <a:spLocks/>
          </p:cNvSpPr>
          <p:nvPr/>
        </p:nvSpPr>
        <p:spPr bwMode="auto">
          <a:xfrm>
            <a:off x="1028701" y="4143618"/>
            <a:ext cx="5321308" cy="1061141"/>
          </a:xfrm>
          <a:custGeom>
            <a:avLst/>
            <a:gdLst>
              <a:gd name="connsiteX0" fmla="*/ 456434 w 4597081"/>
              <a:gd name="connsiteY0" fmla="*/ 0 h 916720"/>
              <a:gd name="connsiteX1" fmla="*/ 500729 w 4597081"/>
              <a:gd name="connsiteY1" fmla="*/ 3852 h 916720"/>
              <a:gd name="connsiteX2" fmla="*/ 548876 w 4597081"/>
              <a:gd name="connsiteY2" fmla="*/ 7704 h 916720"/>
              <a:gd name="connsiteX3" fmla="*/ 591246 w 4597081"/>
              <a:gd name="connsiteY3" fmla="*/ 21185 h 916720"/>
              <a:gd name="connsiteX4" fmla="*/ 635541 w 4597081"/>
              <a:gd name="connsiteY4" fmla="*/ 36592 h 916720"/>
              <a:gd name="connsiteX5" fmla="*/ 672133 w 4597081"/>
              <a:gd name="connsiteY5" fmla="*/ 57777 h 916720"/>
              <a:gd name="connsiteX6" fmla="*/ 712576 w 4597081"/>
              <a:gd name="connsiteY6" fmla="*/ 77035 h 916720"/>
              <a:gd name="connsiteX7" fmla="*/ 745316 w 4597081"/>
              <a:gd name="connsiteY7" fmla="*/ 105924 h 916720"/>
              <a:gd name="connsiteX8" fmla="*/ 778056 w 4597081"/>
              <a:gd name="connsiteY8" fmla="*/ 134812 h 916720"/>
              <a:gd name="connsiteX9" fmla="*/ 797316 w 4597081"/>
              <a:gd name="connsiteY9" fmla="*/ 154071 h 916720"/>
              <a:gd name="connsiteX10" fmla="*/ 4315902 w 4597081"/>
              <a:gd name="connsiteY10" fmla="*/ 154071 h 916720"/>
              <a:gd name="connsiteX11" fmla="*/ 4319754 w 4597081"/>
              <a:gd name="connsiteY11" fmla="*/ 154071 h 916720"/>
              <a:gd name="connsiteX12" fmla="*/ 4323606 w 4597081"/>
              <a:gd name="connsiteY12" fmla="*/ 154071 h 916720"/>
              <a:gd name="connsiteX13" fmla="*/ 4327458 w 4597081"/>
              <a:gd name="connsiteY13" fmla="*/ 154071 h 916720"/>
              <a:gd name="connsiteX14" fmla="*/ 4356346 w 4597081"/>
              <a:gd name="connsiteY14" fmla="*/ 154071 h 916720"/>
              <a:gd name="connsiteX15" fmla="*/ 4381382 w 4597081"/>
              <a:gd name="connsiteY15" fmla="*/ 163701 h 916720"/>
              <a:gd name="connsiteX16" fmla="*/ 4410271 w 4597081"/>
              <a:gd name="connsiteY16" fmla="*/ 171404 h 916720"/>
              <a:gd name="connsiteX17" fmla="*/ 4433381 w 4597081"/>
              <a:gd name="connsiteY17" fmla="*/ 179108 h 916720"/>
              <a:gd name="connsiteX18" fmla="*/ 4454566 w 4597081"/>
              <a:gd name="connsiteY18" fmla="*/ 190663 h 916720"/>
              <a:gd name="connsiteX19" fmla="*/ 4479602 w 4597081"/>
              <a:gd name="connsiteY19" fmla="*/ 207996 h 916720"/>
              <a:gd name="connsiteX20" fmla="*/ 4498861 w 4597081"/>
              <a:gd name="connsiteY20" fmla="*/ 223403 h 916720"/>
              <a:gd name="connsiteX21" fmla="*/ 4516194 w 4597081"/>
              <a:gd name="connsiteY21" fmla="*/ 244588 h 916720"/>
              <a:gd name="connsiteX22" fmla="*/ 4535453 w 4597081"/>
              <a:gd name="connsiteY22" fmla="*/ 269624 h 916720"/>
              <a:gd name="connsiteX23" fmla="*/ 4548934 w 4597081"/>
              <a:gd name="connsiteY23" fmla="*/ 288883 h 916720"/>
              <a:gd name="connsiteX24" fmla="*/ 4564341 w 4597081"/>
              <a:gd name="connsiteY24" fmla="*/ 313919 h 916720"/>
              <a:gd name="connsiteX25" fmla="*/ 4572045 w 4597081"/>
              <a:gd name="connsiteY25" fmla="*/ 342808 h 916720"/>
              <a:gd name="connsiteX26" fmla="*/ 4585526 w 4597081"/>
              <a:gd name="connsiteY26" fmla="*/ 371696 h 916720"/>
              <a:gd name="connsiteX27" fmla="*/ 4589378 w 4597081"/>
              <a:gd name="connsiteY27" fmla="*/ 398658 h 916720"/>
              <a:gd name="connsiteX28" fmla="*/ 4593229 w 4597081"/>
              <a:gd name="connsiteY28" fmla="*/ 427547 h 916720"/>
              <a:gd name="connsiteX29" fmla="*/ 4597081 w 4597081"/>
              <a:gd name="connsiteY29" fmla="*/ 456435 h 916720"/>
              <a:gd name="connsiteX30" fmla="*/ 4593229 w 4597081"/>
              <a:gd name="connsiteY30" fmla="*/ 489175 h 916720"/>
              <a:gd name="connsiteX31" fmla="*/ 4589378 w 4597081"/>
              <a:gd name="connsiteY31" fmla="*/ 521915 h 916720"/>
              <a:gd name="connsiteX32" fmla="*/ 4585526 w 4597081"/>
              <a:gd name="connsiteY32" fmla="*/ 550803 h 916720"/>
              <a:gd name="connsiteX33" fmla="*/ 4572045 w 4597081"/>
              <a:gd name="connsiteY33" fmla="*/ 577765 h 916720"/>
              <a:gd name="connsiteX34" fmla="*/ 4560489 w 4597081"/>
              <a:gd name="connsiteY34" fmla="*/ 602802 h 916720"/>
              <a:gd name="connsiteX35" fmla="*/ 4548934 w 4597081"/>
              <a:gd name="connsiteY35" fmla="*/ 627838 h 916720"/>
              <a:gd name="connsiteX36" fmla="*/ 4531601 w 4597081"/>
              <a:gd name="connsiteY36" fmla="*/ 652875 h 916720"/>
              <a:gd name="connsiteX37" fmla="*/ 4516194 w 4597081"/>
              <a:gd name="connsiteY37" fmla="*/ 672134 h 916720"/>
              <a:gd name="connsiteX38" fmla="*/ 4495009 w 4597081"/>
              <a:gd name="connsiteY38" fmla="*/ 693318 h 916720"/>
              <a:gd name="connsiteX39" fmla="*/ 4475751 w 4597081"/>
              <a:gd name="connsiteY39" fmla="*/ 708725 h 916720"/>
              <a:gd name="connsiteX40" fmla="*/ 4450714 w 4597081"/>
              <a:gd name="connsiteY40" fmla="*/ 726058 h 916720"/>
              <a:gd name="connsiteX41" fmla="*/ 4425678 w 4597081"/>
              <a:gd name="connsiteY41" fmla="*/ 737614 h 916720"/>
              <a:gd name="connsiteX42" fmla="*/ 4402567 w 4597081"/>
              <a:gd name="connsiteY42" fmla="*/ 749169 h 916720"/>
              <a:gd name="connsiteX43" fmla="*/ 4377531 w 4597081"/>
              <a:gd name="connsiteY43" fmla="*/ 758798 h 916720"/>
              <a:gd name="connsiteX44" fmla="*/ 4348642 w 4597081"/>
              <a:gd name="connsiteY44" fmla="*/ 762650 h 916720"/>
              <a:gd name="connsiteX45" fmla="*/ 4319754 w 4597081"/>
              <a:gd name="connsiteY45" fmla="*/ 762650 h 916720"/>
              <a:gd name="connsiteX46" fmla="*/ 4308199 w 4597081"/>
              <a:gd name="connsiteY46" fmla="*/ 762650 h 916720"/>
              <a:gd name="connsiteX47" fmla="*/ 797315 w 4597081"/>
              <a:gd name="connsiteY47" fmla="*/ 762650 h 916720"/>
              <a:gd name="connsiteX48" fmla="*/ 778056 w 4597081"/>
              <a:gd name="connsiteY48" fmla="*/ 781908 h 916720"/>
              <a:gd name="connsiteX49" fmla="*/ 745316 w 4597081"/>
              <a:gd name="connsiteY49" fmla="*/ 810797 h 916720"/>
              <a:gd name="connsiteX50" fmla="*/ 712576 w 4597081"/>
              <a:gd name="connsiteY50" fmla="*/ 835833 h 916720"/>
              <a:gd name="connsiteX51" fmla="*/ 672133 w 4597081"/>
              <a:gd name="connsiteY51" fmla="*/ 860870 h 916720"/>
              <a:gd name="connsiteX52" fmla="*/ 635541 w 4597081"/>
              <a:gd name="connsiteY52" fmla="*/ 880128 h 916720"/>
              <a:gd name="connsiteX53" fmla="*/ 591246 w 4597081"/>
              <a:gd name="connsiteY53" fmla="*/ 897461 h 916720"/>
              <a:gd name="connsiteX54" fmla="*/ 548876 w 4597081"/>
              <a:gd name="connsiteY54" fmla="*/ 905165 h 916720"/>
              <a:gd name="connsiteX55" fmla="*/ 500729 w 4597081"/>
              <a:gd name="connsiteY55" fmla="*/ 912868 h 916720"/>
              <a:gd name="connsiteX56" fmla="*/ 456434 w 4597081"/>
              <a:gd name="connsiteY56" fmla="*/ 916720 h 916720"/>
              <a:gd name="connsiteX57" fmla="*/ 406361 w 4597081"/>
              <a:gd name="connsiteY57" fmla="*/ 912868 h 916720"/>
              <a:gd name="connsiteX58" fmla="*/ 362066 w 4597081"/>
              <a:gd name="connsiteY58" fmla="*/ 905165 h 916720"/>
              <a:gd name="connsiteX59" fmla="*/ 321622 w 4597081"/>
              <a:gd name="connsiteY59" fmla="*/ 897461 h 916720"/>
              <a:gd name="connsiteX60" fmla="*/ 277327 w 4597081"/>
              <a:gd name="connsiteY60" fmla="*/ 880128 h 916720"/>
              <a:gd name="connsiteX61" fmla="*/ 236884 w 4597081"/>
              <a:gd name="connsiteY61" fmla="*/ 860870 h 916720"/>
              <a:gd name="connsiteX62" fmla="*/ 200292 w 4597081"/>
              <a:gd name="connsiteY62" fmla="*/ 835833 h 916720"/>
              <a:gd name="connsiteX63" fmla="*/ 167552 w 4597081"/>
              <a:gd name="connsiteY63" fmla="*/ 810797 h 916720"/>
              <a:gd name="connsiteX64" fmla="*/ 134812 w 4597081"/>
              <a:gd name="connsiteY64" fmla="*/ 781908 h 916720"/>
              <a:gd name="connsiteX65" fmla="*/ 102072 w 4597081"/>
              <a:gd name="connsiteY65" fmla="*/ 749168 h 916720"/>
              <a:gd name="connsiteX66" fmla="*/ 77035 w 4597081"/>
              <a:gd name="connsiteY66" fmla="*/ 712577 h 916720"/>
              <a:gd name="connsiteX67" fmla="*/ 51999 w 4597081"/>
              <a:gd name="connsiteY67" fmla="*/ 675985 h 916720"/>
              <a:gd name="connsiteX68" fmla="*/ 36592 w 4597081"/>
              <a:gd name="connsiteY68" fmla="*/ 635541 h 916720"/>
              <a:gd name="connsiteX69" fmla="*/ 21185 w 4597081"/>
              <a:gd name="connsiteY69" fmla="*/ 595098 h 916720"/>
              <a:gd name="connsiteX70" fmla="*/ 7704 w 4597081"/>
              <a:gd name="connsiteY70" fmla="*/ 550803 h 916720"/>
              <a:gd name="connsiteX71" fmla="*/ 0 w 4597081"/>
              <a:gd name="connsiteY71" fmla="*/ 504581 h 916720"/>
              <a:gd name="connsiteX72" fmla="*/ 0 w 4597081"/>
              <a:gd name="connsiteY72" fmla="*/ 456434 h 916720"/>
              <a:gd name="connsiteX73" fmla="*/ 0 w 4597081"/>
              <a:gd name="connsiteY73" fmla="*/ 412139 h 916720"/>
              <a:gd name="connsiteX74" fmla="*/ 7704 w 4597081"/>
              <a:gd name="connsiteY74" fmla="*/ 365918 h 916720"/>
              <a:gd name="connsiteX75" fmla="*/ 21185 w 4597081"/>
              <a:gd name="connsiteY75" fmla="*/ 321622 h 916720"/>
              <a:gd name="connsiteX76" fmla="*/ 36592 w 4597081"/>
              <a:gd name="connsiteY76" fmla="*/ 281179 h 916720"/>
              <a:gd name="connsiteX77" fmla="*/ 51999 w 4597081"/>
              <a:gd name="connsiteY77" fmla="*/ 240735 h 916720"/>
              <a:gd name="connsiteX78" fmla="*/ 77035 w 4597081"/>
              <a:gd name="connsiteY78" fmla="*/ 204144 h 916720"/>
              <a:gd name="connsiteX79" fmla="*/ 102072 w 4597081"/>
              <a:gd name="connsiteY79" fmla="*/ 167552 h 916720"/>
              <a:gd name="connsiteX80" fmla="*/ 134812 w 4597081"/>
              <a:gd name="connsiteY80" fmla="*/ 134812 h 916720"/>
              <a:gd name="connsiteX81" fmla="*/ 167552 w 4597081"/>
              <a:gd name="connsiteY81" fmla="*/ 105924 h 916720"/>
              <a:gd name="connsiteX82" fmla="*/ 200292 w 4597081"/>
              <a:gd name="connsiteY82" fmla="*/ 77035 h 916720"/>
              <a:gd name="connsiteX83" fmla="*/ 236884 w 4597081"/>
              <a:gd name="connsiteY83" fmla="*/ 57777 h 916720"/>
              <a:gd name="connsiteX84" fmla="*/ 277327 w 4597081"/>
              <a:gd name="connsiteY84" fmla="*/ 36592 h 916720"/>
              <a:gd name="connsiteX85" fmla="*/ 321622 w 4597081"/>
              <a:gd name="connsiteY85" fmla="*/ 21185 h 916720"/>
              <a:gd name="connsiteX86" fmla="*/ 362066 w 4597081"/>
              <a:gd name="connsiteY86" fmla="*/ 7704 h 916720"/>
              <a:gd name="connsiteX87" fmla="*/ 406361 w 4597081"/>
              <a:gd name="connsiteY87" fmla="*/ 3852 h 91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4597081" h="916720">
                <a:moveTo>
                  <a:pt x="456434" y="0"/>
                </a:moveTo>
                <a:lnTo>
                  <a:pt x="500729" y="3852"/>
                </a:lnTo>
                <a:lnTo>
                  <a:pt x="548876" y="7704"/>
                </a:lnTo>
                <a:lnTo>
                  <a:pt x="591246" y="21185"/>
                </a:lnTo>
                <a:lnTo>
                  <a:pt x="635541" y="36592"/>
                </a:lnTo>
                <a:lnTo>
                  <a:pt x="672133" y="57777"/>
                </a:lnTo>
                <a:lnTo>
                  <a:pt x="712576" y="77035"/>
                </a:lnTo>
                <a:lnTo>
                  <a:pt x="745316" y="105924"/>
                </a:lnTo>
                <a:lnTo>
                  <a:pt x="778056" y="134812"/>
                </a:lnTo>
                <a:lnTo>
                  <a:pt x="797316" y="154071"/>
                </a:lnTo>
                <a:lnTo>
                  <a:pt x="4315902" y="154071"/>
                </a:lnTo>
                <a:lnTo>
                  <a:pt x="4319754" y="154071"/>
                </a:lnTo>
                <a:lnTo>
                  <a:pt x="4323606" y="154071"/>
                </a:lnTo>
                <a:lnTo>
                  <a:pt x="4327458" y="154071"/>
                </a:lnTo>
                <a:lnTo>
                  <a:pt x="4356346" y="154071"/>
                </a:lnTo>
                <a:lnTo>
                  <a:pt x="4381382" y="163701"/>
                </a:lnTo>
                <a:lnTo>
                  <a:pt x="4410271" y="171404"/>
                </a:lnTo>
                <a:lnTo>
                  <a:pt x="4433381" y="179108"/>
                </a:lnTo>
                <a:lnTo>
                  <a:pt x="4454566" y="190663"/>
                </a:lnTo>
                <a:lnTo>
                  <a:pt x="4479602" y="207996"/>
                </a:lnTo>
                <a:lnTo>
                  <a:pt x="4498861" y="223403"/>
                </a:lnTo>
                <a:lnTo>
                  <a:pt x="4516194" y="244588"/>
                </a:lnTo>
                <a:lnTo>
                  <a:pt x="4535453" y="269624"/>
                </a:lnTo>
                <a:lnTo>
                  <a:pt x="4548934" y="288883"/>
                </a:lnTo>
                <a:lnTo>
                  <a:pt x="4564341" y="313919"/>
                </a:lnTo>
                <a:lnTo>
                  <a:pt x="4572045" y="342808"/>
                </a:lnTo>
                <a:lnTo>
                  <a:pt x="4585526" y="371696"/>
                </a:lnTo>
                <a:lnTo>
                  <a:pt x="4589378" y="398658"/>
                </a:lnTo>
                <a:lnTo>
                  <a:pt x="4593229" y="427547"/>
                </a:lnTo>
                <a:lnTo>
                  <a:pt x="4597081" y="456435"/>
                </a:lnTo>
                <a:lnTo>
                  <a:pt x="4593229" y="489175"/>
                </a:lnTo>
                <a:lnTo>
                  <a:pt x="4589378" y="521915"/>
                </a:lnTo>
                <a:lnTo>
                  <a:pt x="4585526" y="550803"/>
                </a:lnTo>
                <a:lnTo>
                  <a:pt x="4572045" y="577765"/>
                </a:lnTo>
                <a:lnTo>
                  <a:pt x="4560489" y="602802"/>
                </a:lnTo>
                <a:lnTo>
                  <a:pt x="4548934" y="627838"/>
                </a:lnTo>
                <a:lnTo>
                  <a:pt x="4531601" y="652875"/>
                </a:lnTo>
                <a:lnTo>
                  <a:pt x="4516194" y="672134"/>
                </a:lnTo>
                <a:lnTo>
                  <a:pt x="4495009" y="693318"/>
                </a:lnTo>
                <a:lnTo>
                  <a:pt x="4475751" y="708725"/>
                </a:lnTo>
                <a:lnTo>
                  <a:pt x="4450714" y="726058"/>
                </a:lnTo>
                <a:lnTo>
                  <a:pt x="4425678" y="737614"/>
                </a:lnTo>
                <a:lnTo>
                  <a:pt x="4402567" y="749169"/>
                </a:lnTo>
                <a:lnTo>
                  <a:pt x="4377531" y="758798"/>
                </a:lnTo>
                <a:lnTo>
                  <a:pt x="4348642" y="762650"/>
                </a:lnTo>
                <a:lnTo>
                  <a:pt x="4319754" y="762650"/>
                </a:lnTo>
                <a:lnTo>
                  <a:pt x="4308199" y="762650"/>
                </a:lnTo>
                <a:lnTo>
                  <a:pt x="797315" y="762650"/>
                </a:lnTo>
                <a:lnTo>
                  <a:pt x="778056" y="781908"/>
                </a:lnTo>
                <a:lnTo>
                  <a:pt x="745316" y="810797"/>
                </a:lnTo>
                <a:lnTo>
                  <a:pt x="712576" y="835833"/>
                </a:lnTo>
                <a:lnTo>
                  <a:pt x="672133" y="860870"/>
                </a:lnTo>
                <a:lnTo>
                  <a:pt x="635541" y="880128"/>
                </a:lnTo>
                <a:lnTo>
                  <a:pt x="591246" y="897461"/>
                </a:lnTo>
                <a:lnTo>
                  <a:pt x="548876" y="905165"/>
                </a:lnTo>
                <a:lnTo>
                  <a:pt x="500729" y="912868"/>
                </a:lnTo>
                <a:lnTo>
                  <a:pt x="456434" y="916720"/>
                </a:lnTo>
                <a:lnTo>
                  <a:pt x="406361" y="912868"/>
                </a:lnTo>
                <a:lnTo>
                  <a:pt x="362066" y="905165"/>
                </a:lnTo>
                <a:lnTo>
                  <a:pt x="321622" y="897461"/>
                </a:lnTo>
                <a:lnTo>
                  <a:pt x="277327" y="880128"/>
                </a:lnTo>
                <a:lnTo>
                  <a:pt x="236884" y="860870"/>
                </a:lnTo>
                <a:lnTo>
                  <a:pt x="200292" y="835833"/>
                </a:lnTo>
                <a:lnTo>
                  <a:pt x="167552" y="810797"/>
                </a:lnTo>
                <a:lnTo>
                  <a:pt x="134812" y="781908"/>
                </a:lnTo>
                <a:lnTo>
                  <a:pt x="102072" y="749168"/>
                </a:lnTo>
                <a:lnTo>
                  <a:pt x="77035" y="712577"/>
                </a:lnTo>
                <a:lnTo>
                  <a:pt x="51999" y="675985"/>
                </a:lnTo>
                <a:lnTo>
                  <a:pt x="36592" y="635541"/>
                </a:lnTo>
                <a:lnTo>
                  <a:pt x="21185" y="595098"/>
                </a:lnTo>
                <a:lnTo>
                  <a:pt x="7704" y="550803"/>
                </a:lnTo>
                <a:lnTo>
                  <a:pt x="0" y="504581"/>
                </a:lnTo>
                <a:lnTo>
                  <a:pt x="0" y="456434"/>
                </a:lnTo>
                <a:lnTo>
                  <a:pt x="0" y="412139"/>
                </a:lnTo>
                <a:lnTo>
                  <a:pt x="7704" y="365918"/>
                </a:lnTo>
                <a:lnTo>
                  <a:pt x="21185" y="321622"/>
                </a:lnTo>
                <a:lnTo>
                  <a:pt x="36592" y="281179"/>
                </a:lnTo>
                <a:lnTo>
                  <a:pt x="51999" y="240735"/>
                </a:lnTo>
                <a:lnTo>
                  <a:pt x="77035" y="204144"/>
                </a:lnTo>
                <a:lnTo>
                  <a:pt x="102072" y="167552"/>
                </a:lnTo>
                <a:lnTo>
                  <a:pt x="134812" y="134812"/>
                </a:lnTo>
                <a:lnTo>
                  <a:pt x="167552" y="105924"/>
                </a:lnTo>
                <a:lnTo>
                  <a:pt x="200292" y="77035"/>
                </a:lnTo>
                <a:lnTo>
                  <a:pt x="236884" y="57777"/>
                </a:lnTo>
                <a:lnTo>
                  <a:pt x="277327" y="36592"/>
                </a:lnTo>
                <a:lnTo>
                  <a:pt x="321622" y="21185"/>
                </a:lnTo>
                <a:lnTo>
                  <a:pt x="362066" y="7704"/>
                </a:lnTo>
                <a:lnTo>
                  <a:pt x="406361" y="3852"/>
                </a:ln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a:p>
        </p:txBody>
      </p:sp>
      <p:sp>
        <p:nvSpPr>
          <p:cNvPr id="57" name="Text Box 8">
            <a:extLst>
              <a:ext uri="{FF2B5EF4-FFF2-40B4-BE49-F238E27FC236}">
                <a16:creationId xmlns:a16="http://schemas.microsoft.com/office/drawing/2014/main" id="{A27AF29C-B1E1-4AF1-811E-180CEA2A9B34}"/>
              </a:ext>
            </a:extLst>
          </p:cNvPr>
          <p:cNvSpPr txBox="1">
            <a:spLocks noChangeArrowheads="1"/>
          </p:cNvSpPr>
          <p:nvPr/>
        </p:nvSpPr>
        <p:spPr bwMode="auto">
          <a:xfrm>
            <a:off x="885709" y="4412577"/>
            <a:ext cx="1438392" cy="523220"/>
          </a:xfrm>
          <a:prstGeom prst="rect">
            <a:avLst/>
          </a:prstGeom>
          <a:noFill/>
          <a:ln w="9525">
            <a:noFill/>
            <a:miter lim="800000"/>
            <a:headEnd/>
            <a:tailEnd/>
          </a:ln>
          <a:effectLst/>
        </p:spPr>
        <p:txBody>
          <a:bodyPr wrap="square" anchor="ctr">
            <a:spAutoFit/>
          </a:bodyPr>
          <a:lstStyle/>
          <a:p>
            <a:pPr algn="ctr">
              <a:defRPr/>
            </a:pPr>
            <a:r>
              <a:rPr lang="en-US" altLang="ko-KR" sz="2800" spc="300" dirty="0">
                <a:solidFill>
                  <a:schemeClr val="bg1"/>
                </a:solidFill>
                <a:latin typeface="+mj-lt"/>
                <a:ea typeface="+mj-ea"/>
                <a:cs typeface="+mj-cs"/>
              </a:rPr>
              <a:t>03</a:t>
            </a:r>
          </a:p>
        </p:txBody>
      </p:sp>
      <p:sp>
        <p:nvSpPr>
          <p:cNvPr id="61" name="TextBox 60">
            <a:extLst>
              <a:ext uri="{FF2B5EF4-FFF2-40B4-BE49-F238E27FC236}">
                <a16:creationId xmlns:a16="http://schemas.microsoft.com/office/drawing/2014/main" id="{A25C1725-43DB-4C71-8993-9284B7AEC63C}"/>
              </a:ext>
            </a:extLst>
          </p:cNvPr>
          <p:cNvSpPr txBox="1"/>
          <p:nvPr/>
        </p:nvSpPr>
        <p:spPr>
          <a:xfrm>
            <a:off x="2089032" y="2794344"/>
            <a:ext cx="3856597" cy="478272"/>
          </a:xfrm>
          <a:prstGeom prst="rect">
            <a:avLst/>
          </a:prstGeom>
          <a:noFill/>
        </p:spPr>
        <p:txBody>
          <a:bodyPr wrap="square" rtlCol="0">
            <a:spAutoFit/>
          </a:bodyPr>
          <a:lstStyle/>
          <a:p>
            <a:pPr>
              <a:lnSpc>
                <a:spcPct val="110000"/>
              </a:lnSpc>
            </a:pPr>
            <a:r>
              <a:rPr lang="en-US" altLang="ko-KR" sz="2400" dirty="0">
                <a:solidFill>
                  <a:schemeClr val="bg1">
                    <a:lumMod val="95000"/>
                  </a:schemeClr>
                </a:solidFill>
                <a:ea typeface="맑은 고딕" panose="020B0503020000020004" pitchFamily="50" charset="-127"/>
                <a:cs typeface="Calibri" panose="020F0502020204030204" pitchFamily="34" charset="0"/>
              </a:rPr>
              <a:t>Technology</a:t>
            </a:r>
          </a:p>
        </p:txBody>
      </p:sp>
      <p:sp>
        <p:nvSpPr>
          <p:cNvPr id="62" name="TextBox 61">
            <a:extLst>
              <a:ext uri="{FF2B5EF4-FFF2-40B4-BE49-F238E27FC236}">
                <a16:creationId xmlns:a16="http://schemas.microsoft.com/office/drawing/2014/main" id="{92BD4537-7DC0-4D83-9B31-5E30051C1FA1}"/>
              </a:ext>
            </a:extLst>
          </p:cNvPr>
          <p:cNvSpPr txBox="1"/>
          <p:nvPr/>
        </p:nvSpPr>
        <p:spPr>
          <a:xfrm>
            <a:off x="2089032" y="4433944"/>
            <a:ext cx="3856597" cy="478272"/>
          </a:xfrm>
          <a:prstGeom prst="rect">
            <a:avLst/>
          </a:prstGeom>
          <a:noFill/>
        </p:spPr>
        <p:txBody>
          <a:bodyPr wrap="square" rtlCol="0">
            <a:spAutoFit/>
          </a:bodyPr>
          <a:lstStyle/>
          <a:p>
            <a:pPr>
              <a:lnSpc>
                <a:spcPct val="110000"/>
              </a:lnSpc>
            </a:pPr>
            <a:r>
              <a:rPr lang="en-US" altLang="ko-KR" sz="2400" dirty="0">
                <a:solidFill>
                  <a:schemeClr val="bg1">
                    <a:lumMod val="95000"/>
                  </a:schemeClr>
                </a:solidFill>
                <a:ea typeface="맑은 고딕" panose="020B0503020000020004" pitchFamily="50" charset="-127"/>
                <a:cs typeface="Calibri" panose="020F0502020204030204" pitchFamily="34" charset="0"/>
              </a:rPr>
              <a:t>Operations</a:t>
            </a:r>
          </a:p>
        </p:txBody>
      </p:sp>
      <p:sp>
        <p:nvSpPr>
          <p:cNvPr id="63" name="TextBox 62">
            <a:extLst>
              <a:ext uri="{FF2B5EF4-FFF2-40B4-BE49-F238E27FC236}">
                <a16:creationId xmlns:a16="http://schemas.microsoft.com/office/drawing/2014/main" id="{2341354C-E27C-48D7-8CDE-09EDB75AE870}"/>
              </a:ext>
            </a:extLst>
          </p:cNvPr>
          <p:cNvSpPr txBox="1"/>
          <p:nvPr/>
        </p:nvSpPr>
        <p:spPr>
          <a:xfrm>
            <a:off x="6196830" y="3604012"/>
            <a:ext cx="3856597" cy="478272"/>
          </a:xfrm>
          <a:prstGeom prst="rect">
            <a:avLst/>
          </a:prstGeom>
          <a:noFill/>
        </p:spPr>
        <p:txBody>
          <a:bodyPr wrap="square" rtlCol="0">
            <a:spAutoFit/>
          </a:bodyPr>
          <a:lstStyle/>
          <a:p>
            <a:pPr algn="r">
              <a:lnSpc>
                <a:spcPct val="110000"/>
              </a:lnSpc>
            </a:pPr>
            <a:r>
              <a:rPr lang="en-US" altLang="ko-KR" sz="2400" dirty="0">
                <a:solidFill>
                  <a:schemeClr val="bg1">
                    <a:lumMod val="95000"/>
                  </a:schemeClr>
                </a:solidFill>
                <a:ea typeface="맑은 고딕" panose="020B0503020000020004" pitchFamily="50" charset="-127"/>
                <a:cs typeface="Calibri" panose="020F0502020204030204" pitchFamily="34" charset="0"/>
              </a:rPr>
              <a:t>Cost</a:t>
            </a:r>
          </a:p>
        </p:txBody>
      </p:sp>
      <p:grpSp>
        <p:nvGrpSpPr>
          <p:cNvPr id="46" name="그룹 45">
            <a:extLst>
              <a:ext uri="{FF2B5EF4-FFF2-40B4-BE49-F238E27FC236}">
                <a16:creationId xmlns:a16="http://schemas.microsoft.com/office/drawing/2014/main" id="{2AB9BE06-031D-47F8-B107-5D329268848D}"/>
              </a:ext>
            </a:extLst>
          </p:cNvPr>
          <p:cNvGrpSpPr/>
          <p:nvPr/>
        </p:nvGrpSpPr>
        <p:grpSpPr>
          <a:xfrm>
            <a:off x="3143431" y="2617296"/>
            <a:ext cx="5894744" cy="3559408"/>
            <a:chOff x="2130722" y="2900158"/>
            <a:chExt cx="4859024" cy="2934011"/>
          </a:xfrm>
          <a:solidFill>
            <a:schemeClr val="bg2">
              <a:lumMod val="75000"/>
              <a:lumOff val="25000"/>
            </a:schemeClr>
          </a:solidFill>
        </p:grpSpPr>
        <p:sp>
          <p:nvSpPr>
            <p:cNvPr id="48" name="Freeform 34">
              <a:extLst>
                <a:ext uri="{FF2B5EF4-FFF2-40B4-BE49-F238E27FC236}">
                  <a16:creationId xmlns:a16="http://schemas.microsoft.com/office/drawing/2014/main" id="{A8313666-1E06-47D7-AC1E-763FD4E0F1EB}"/>
                </a:ext>
              </a:extLst>
            </p:cNvPr>
            <p:cNvSpPr>
              <a:spLocks/>
            </p:cNvSpPr>
            <p:nvPr/>
          </p:nvSpPr>
          <p:spPr bwMode="auto">
            <a:xfrm>
              <a:off x="2130722" y="5465365"/>
              <a:ext cx="1704991" cy="368804"/>
            </a:xfrm>
            <a:custGeom>
              <a:avLst/>
              <a:gdLst>
                <a:gd name="T0" fmla="*/ 157 w 883"/>
                <a:gd name="T1" fmla="*/ 169 h 191"/>
                <a:gd name="T2" fmla="*/ 154 w 883"/>
                <a:gd name="T3" fmla="*/ 169 h 191"/>
                <a:gd name="T4" fmla="*/ 148 w 883"/>
                <a:gd name="T5" fmla="*/ 163 h 191"/>
                <a:gd name="T6" fmla="*/ 148 w 883"/>
                <a:gd name="T7" fmla="*/ 158 h 191"/>
                <a:gd name="T8" fmla="*/ 151 w 883"/>
                <a:gd name="T9" fmla="*/ 152 h 191"/>
                <a:gd name="T10" fmla="*/ 157 w 883"/>
                <a:gd name="T11" fmla="*/ 149 h 191"/>
                <a:gd name="T12" fmla="*/ 199 w 883"/>
                <a:gd name="T13" fmla="*/ 149 h 191"/>
                <a:gd name="T14" fmla="*/ 211 w 883"/>
                <a:gd name="T15" fmla="*/ 146 h 191"/>
                <a:gd name="T16" fmla="*/ 222 w 883"/>
                <a:gd name="T17" fmla="*/ 140 h 191"/>
                <a:gd name="T18" fmla="*/ 228 w 883"/>
                <a:gd name="T19" fmla="*/ 129 h 191"/>
                <a:gd name="T20" fmla="*/ 230 w 883"/>
                <a:gd name="T21" fmla="*/ 118 h 191"/>
                <a:gd name="T22" fmla="*/ 230 w 883"/>
                <a:gd name="T23" fmla="*/ 110 h 191"/>
                <a:gd name="T24" fmla="*/ 225 w 883"/>
                <a:gd name="T25" fmla="*/ 100 h 191"/>
                <a:gd name="T26" fmla="*/ 218 w 883"/>
                <a:gd name="T27" fmla="*/ 92 h 191"/>
                <a:gd name="T28" fmla="*/ 205 w 883"/>
                <a:gd name="T29" fmla="*/ 87 h 191"/>
                <a:gd name="T30" fmla="*/ 53 w 883"/>
                <a:gd name="T31" fmla="*/ 86 h 191"/>
                <a:gd name="T32" fmla="*/ 47 w 883"/>
                <a:gd name="T33" fmla="*/ 86 h 191"/>
                <a:gd name="T34" fmla="*/ 36 w 883"/>
                <a:gd name="T35" fmla="*/ 81 h 191"/>
                <a:gd name="T36" fmla="*/ 27 w 883"/>
                <a:gd name="T37" fmla="*/ 72 h 191"/>
                <a:gd name="T38" fmla="*/ 22 w 883"/>
                <a:gd name="T39" fmla="*/ 61 h 191"/>
                <a:gd name="T40" fmla="*/ 22 w 883"/>
                <a:gd name="T41" fmla="*/ 55 h 191"/>
                <a:gd name="T42" fmla="*/ 24 w 883"/>
                <a:gd name="T43" fmla="*/ 42 h 191"/>
                <a:gd name="T44" fmla="*/ 32 w 883"/>
                <a:gd name="T45" fmla="*/ 33 h 191"/>
                <a:gd name="T46" fmla="*/ 41 w 883"/>
                <a:gd name="T47" fmla="*/ 27 h 191"/>
                <a:gd name="T48" fmla="*/ 53 w 883"/>
                <a:gd name="T49" fmla="*/ 24 h 191"/>
                <a:gd name="T50" fmla="*/ 777 w 883"/>
                <a:gd name="T51" fmla="*/ 0 h 191"/>
                <a:gd name="T52" fmla="*/ 53 w 883"/>
                <a:gd name="T53" fmla="*/ 2 h 191"/>
                <a:gd name="T54" fmla="*/ 33 w 883"/>
                <a:gd name="T55" fmla="*/ 7 h 191"/>
                <a:gd name="T56" fmla="*/ 16 w 883"/>
                <a:gd name="T57" fmla="*/ 17 h 191"/>
                <a:gd name="T58" fmla="*/ 5 w 883"/>
                <a:gd name="T59" fmla="*/ 34 h 191"/>
                <a:gd name="T60" fmla="*/ 0 w 883"/>
                <a:gd name="T61" fmla="*/ 55 h 191"/>
                <a:gd name="T62" fmla="*/ 2 w 883"/>
                <a:gd name="T63" fmla="*/ 65 h 191"/>
                <a:gd name="T64" fmla="*/ 10 w 883"/>
                <a:gd name="T65" fmla="*/ 84 h 191"/>
                <a:gd name="T66" fmla="*/ 24 w 883"/>
                <a:gd name="T67" fmla="*/ 98 h 191"/>
                <a:gd name="T68" fmla="*/ 42 w 883"/>
                <a:gd name="T69" fmla="*/ 106 h 191"/>
                <a:gd name="T70" fmla="*/ 199 w 883"/>
                <a:gd name="T71" fmla="*/ 107 h 191"/>
                <a:gd name="T72" fmla="*/ 204 w 883"/>
                <a:gd name="T73" fmla="*/ 107 h 191"/>
                <a:gd name="T74" fmla="*/ 208 w 883"/>
                <a:gd name="T75" fmla="*/ 113 h 191"/>
                <a:gd name="T76" fmla="*/ 210 w 883"/>
                <a:gd name="T77" fmla="*/ 118 h 191"/>
                <a:gd name="T78" fmla="*/ 207 w 883"/>
                <a:gd name="T79" fmla="*/ 124 h 191"/>
                <a:gd name="T80" fmla="*/ 199 w 883"/>
                <a:gd name="T81" fmla="*/ 127 h 191"/>
                <a:gd name="T82" fmla="*/ 157 w 883"/>
                <a:gd name="T83" fmla="*/ 127 h 191"/>
                <a:gd name="T84" fmla="*/ 145 w 883"/>
                <a:gd name="T85" fmla="*/ 131 h 191"/>
                <a:gd name="T86" fmla="*/ 135 w 883"/>
                <a:gd name="T87" fmla="*/ 137 h 191"/>
                <a:gd name="T88" fmla="*/ 129 w 883"/>
                <a:gd name="T89" fmla="*/ 148 h 191"/>
                <a:gd name="T90" fmla="*/ 126 w 883"/>
                <a:gd name="T91" fmla="*/ 158 h 191"/>
                <a:gd name="T92" fmla="*/ 128 w 883"/>
                <a:gd name="T93" fmla="*/ 166 h 191"/>
                <a:gd name="T94" fmla="*/ 132 w 883"/>
                <a:gd name="T95" fmla="*/ 177 h 191"/>
                <a:gd name="T96" fmla="*/ 140 w 883"/>
                <a:gd name="T97" fmla="*/ 185 h 191"/>
                <a:gd name="T98" fmla="*/ 151 w 883"/>
                <a:gd name="T99" fmla="*/ 189 h 191"/>
                <a:gd name="T100" fmla="*/ 883 w 883"/>
                <a:gd name="T101" fmla="*/ 18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191">
                  <a:moveTo>
                    <a:pt x="883" y="166"/>
                  </a:moveTo>
                  <a:lnTo>
                    <a:pt x="157" y="169"/>
                  </a:lnTo>
                  <a:lnTo>
                    <a:pt x="157" y="169"/>
                  </a:lnTo>
                  <a:lnTo>
                    <a:pt x="154" y="169"/>
                  </a:lnTo>
                  <a:lnTo>
                    <a:pt x="151" y="166"/>
                  </a:lnTo>
                  <a:lnTo>
                    <a:pt x="148" y="163"/>
                  </a:lnTo>
                  <a:lnTo>
                    <a:pt x="148" y="158"/>
                  </a:lnTo>
                  <a:lnTo>
                    <a:pt x="148" y="158"/>
                  </a:lnTo>
                  <a:lnTo>
                    <a:pt x="148" y="155"/>
                  </a:lnTo>
                  <a:lnTo>
                    <a:pt x="151" y="152"/>
                  </a:lnTo>
                  <a:lnTo>
                    <a:pt x="154" y="149"/>
                  </a:lnTo>
                  <a:lnTo>
                    <a:pt x="157" y="149"/>
                  </a:lnTo>
                  <a:lnTo>
                    <a:pt x="199" y="149"/>
                  </a:lnTo>
                  <a:lnTo>
                    <a:pt x="199" y="149"/>
                  </a:lnTo>
                  <a:lnTo>
                    <a:pt x="205" y="148"/>
                  </a:lnTo>
                  <a:lnTo>
                    <a:pt x="211" y="146"/>
                  </a:lnTo>
                  <a:lnTo>
                    <a:pt x="218" y="143"/>
                  </a:lnTo>
                  <a:lnTo>
                    <a:pt x="222" y="140"/>
                  </a:lnTo>
                  <a:lnTo>
                    <a:pt x="225" y="135"/>
                  </a:lnTo>
                  <a:lnTo>
                    <a:pt x="228" y="129"/>
                  </a:lnTo>
                  <a:lnTo>
                    <a:pt x="230" y="124"/>
                  </a:lnTo>
                  <a:lnTo>
                    <a:pt x="230" y="118"/>
                  </a:lnTo>
                  <a:lnTo>
                    <a:pt x="230" y="118"/>
                  </a:lnTo>
                  <a:lnTo>
                    <a:pt x="230" y="110"/>
                  </a:lnTo>
                  <a:lnTo>
                    <a:pt x="228" y="106"/>
                  </a:lnTo>
                  <a:lnTo>
                    <a:pt x="225" y="100"/>
                  </a:lnTo>
                  <a:lnTo>
                    <a:pt x="222" y="95"/>
                  </a:lnTo>
                  <a:lnTo>
                    <a:pt x="218" y="92"/>
                  </a:lnTo>
                  <a:lnTo>
                    <a:pt x="211" y="89"/>
                  </a:lnTo>
                  <a:lnTo>
                    <a:pt x="205" y="87"/>
                  </a:lnTo>
                  <a:lnTo>
                    <a:pt x="199" y="86"/>
                  </a:lnTo>
                  <a:lnTo>
                    <a:pt x="53" y="86"/>
                  </a:lnTo>
                  <a:lnTo>
                    <a:pt x="53" y="86"/>
                  </a:lnTo>
                  <a:lnTo>
                    <a:pt x="47" y="86"/>
                  </a:lnTo>
                  <a:lnTo>
                    <a:pt x="41" y="84"/>
                  </a:lnTo>
                  <a:lnTo>
                    <a:pt x="36" y="81"/>
                  </a:lnTo>
                  <a:lnTo>
                    <a:pt x="32" y="76"/>
                  </a:lnTo>
                  <a:lnTo>
                    <a:pt x="27" y="72"/>
                  </a:lnTo>
                  <a:lnTo>
                    <a:pt x="24" y="67"/>
                  </a:lnTo>
                  <a:lnTo>
                    <a:pt x="22" y="61"/>
                  </a:lnTo>
                  <a:lnTo>
                    <a:pt x="22" y="55"/>
                  </a:lnTo>
                  <a:lnTo>
                    <a:pt x="22" y="55"/>
                  </a:lnTo>
                  <a:lnTo>
                    <a:pt x="22" y="48"/>
                  </a:lnTo>
                  <a:lnTo>
                    <a:pt x="24" y="42"/>
                  </a:lnTo>
                  <a:lnTo>
                    <a:pt x="27" y="38"/>
                  </a:lnTo>
                  <a:lnTo>
                    <a:pt x="32" y="33"/>
                  </a:lnTo>
                  <a:lnTo>
                    <a:pt x="36" y="28"/>
                  </a:lnTo>
                  <a:lnTo>
                    <a:pt x="41" y="27"/>
                  </a:lnTo>
                  <a:lnTo>
                    <a:pt x="47" y="24"/>
                  </a:lnTo>
                  <a:lnTo>
                    <a:pt x="53" y="24"/>
                  </a:lnTo>
                  <a:lnTo>
                    <a:pt x="777" y="20"/>
                  </a:lnTo>
                  <a:lnTo>
                    <a:pt x="777" y="0"/>
                  </a:lnTo>
                  <a:lnTo>
                    <a:pt x="53" y="2"/>
                  </a:lnTo>
                  <a:lnTo>
                    <a:pt x="53" y="2"/>
                  </a:lnTo>
                  <a:lnTo>
                    <a:pt x="42" y="3"/>
                  </a:lnTo>
                  <a:lnTo>
                    <a:pt x="33" y="7"/>
                  </a:lnTo>
                  <a:lnTo>
                    <a:pt x="24" y="11"/>
                  </a:lnTo>
                  <a:lnTo>
                    <a:pt x="16" y="17"/>
                  </a:lnTo>
                  <a:lnTo>
                    <a:pt x="10" y="25"/>
                  </a:lnTo>
                  <a:lnTo>
                    <a:pt x="5" y="34"/>
                  </a:lnTo>
                  <a:lnTo>
                    <a:pt x="2" y="44"/>
                  </a:lnTo>
                  <a:lnTo>
                    <a:pt x="0" y="55"/>
                  </a:lnTo>
                  <a:lnTo>
                    <a:pt x="0" y="55"/>
                  </a:lnTo>
                  <a:lnTo>
                    <a:pt x="2" y="65"/>
                  </a:lnTo>
                  <a:lnTo>
                    <a:pt x="5" y="75"/>
                  </a:lnTo>
                  <a:lnTo>
                    <a:pt x="10" y="84"/>
                  </a:lnTo>
                  <a:lnTo>
                    <a:pt x="16" y="92"/>
                  </a:lnTo>
                  <a:lnTo>
                    <a:pt x="24" y="98"/>
                  </a:lnTo>
                  <a:lnTo>
                    <a:pt x="33" y="103"/>
                  </a:lnTo>
                  <a:lnTo>
                    <a:pt x="42" y="106"/>
                  </a:lnTo>
                  <a:lnTo>
                    <a:pt x="53" y="107"/>
                  </a:lnTo>
                  <a:lnTo>
                    <a:pt x="199" y="107"/>
                  </a:lnTo>
                  <a:lnTo>
                    <a:pt x="199" y="107"/>
                  </a:lnTo>
                  <a:lnTo>
                    <a:pt x="204" y="107"/>
                  </a:lnTo>
                  <a:lnTo>
                    <a:pt x="207" y="110"/>
                  </a:lnTo>
                  <a:lnTo>
                    <a:pt x="208" y="113"/>
                  </a:lnTo>
                  <a:lnTo>
                    <a:pt x="210" y="118"/>
                  </a:lnTo>
                  <a:lnTo>
                    <a:pt x="210" y="118"/>
                  </a:lnTo>
                  <a:lnTo>
                    <a:pt x="208" y="121"/>
                  </a:lnTo>
                  <a:lnTo>
                    <a:pt x="207" y="124"/>
                  </a:lnTo>
                  <a:lnTo>
                    <a:pt x="204" y="127"/>
                  </a:lnTo>
                  <a:lnTo>
                    <a:pt x="199" y="127"/>
                  </a:lnTo>
                  <a:lnTo>
                    <a:pt x="157" y="127"/>
                  </a:lnTo>
                  <a:lnTo>
                    <a:pt x="157" y="127"/>
                  </a:lnTo>
                  <a:lnTo>
                    <a:pt x="151" y="129"/>
                  </a:lnTo>
                  <a:lnTo>
                    <a:pt x="145" y="131"/>
                  </a:lnTo>
                  <a:lnTo>
                    <a:pt x="140" y="134"/>
                  </a:lnTo>
                  <a:lnTo>
                    <a:pt x="135" y="137"/>
                  </a:lnTo>
                  <a:lnTo>
                    <a:pt x="132" y="141"/>
                  </a:lnTo>
                  <a:lnTo>
                    <a:pt x="129" y="148"/>
                  </a:lnTo>
                  <a:lnTo>
                    <a:pt x="128" y="152"/>
                  </a:lnTo>
                  <a:lnTo>
                    <a:pt x="126" y="158"/>
                  </a:lnTo>
                  <a:lnTo>
                    <a:pt x="126" y="158"/>
                  </a:lnTo>
                  <a:lnTo>
                    <a:pt x="128" y="166"/>
                  </a:lnTo>
                  <a:lnTo>
                    <a:pt x="129" y="171"/>
                  </a:lnTo>
                  <a:lnTo>
                    <a:pt x="132" y="177"/>
                  </a:lnTo>
                  <a:lnTo>
                    <a:pt x="135" y="182"/>
                  </a:lnTo>
                  <a:lnTo>
                    <a:pt x="140" y="185"/>
                  </a:lnTo>
                  <a:lnTo>
                    <a:pt x="145" y="188"/>
                  </a:lnTo>
                  <a:lnTo>
                    <a:pt x="151" y="189"/>
                  </a:lnTo>
                  <a:lnTo>
                    <a:pt x="157" y="191"/>
                  </a:lnTo>
                  <a:lnTo>
                    <a:pt x="883" y="188"/>
                  </a:lnTo>
                  <a:lnTo>
                    <a:pt x="883"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ko-KR" altLang="en-US" sz="2000"/>
            </a:p>
          </p:txBody>
        </p:sp>
        <p:sp>
          <p:nvSpPr>
            <p:cNvPr id="49" name="Freeform 34">
              <a:extLst>
                <a:ext uri="{FF2B5EF4-FFF2-40B4-BE49-F238E27FC236}">
                  <a16:creationId xmlns:a16="http://schemas.microsoft.com/office/drawing/2014/main" id="{167AEE77-066F-41E4-977B-FECE87DBAA11}"/>
                </a:ext>
              </a:extLst>
            </p:cNvPr>
            <p:cNvSpPr>
              <a:spLocks/>
            </p:cNvSpPr>
            <p:nvPr/>
          </p:nvSpPr>
          <p:spPr bwMode="auto">
            <a:xfrm flipH="1">
              <a:off x="5348745" y="5318150"/>
              <a:ext cx="1641001" cy="354961"/>
            </a:xfrm>
            <a:custGeom>
              <a:avLst/>
              <a:gdLst>
                <a:gd name="T0" fmla="*/ 157 w 883"/>
                <a:gd name="T1" fmla="*/ 169 h 191"/>
                <a:gd name="T2" fmla="*/ 154 w 883"/>
                <a:gd name="T3" fmla="*/ 169 h 191"/>
                <a:gd name="T4" fmla="*/ 148 w 883"/>
                <a:gd name="T5" fmla="*/ 163 h 191"/>
                <a:gd name="T6" fmla="*/ 148 w 883"/>
                <a:gd name="T7" fmla="*/ 158 h 191"/>
                <a:gd name="T8" fmla="*/ 151 w 883"/>
                <a:gd name="T9" fmla="*/ 152 h 191"/>
                <a:gd name="T10" fmla="*/ 157 w 883"/>
                <a:gd name="T11" fmla="*/ 149 h 191"/>
                <a:gd name="T12" fmla="*/ 199 w 883"/>
                <a:gd name="T13" fmla="*/ 149 h 191"/>
                <a:gd name="T14" fmla="*/ 211 w 883"/>
                <a:gd name="T15" fmla="*/ 146 h 191"/>
                <a:gd name="T16" fmla="*/ 222 w 883"/>
                <a:gd name="T17" fmla="*/ 140 h 191"/>
                <a:gd name="T18" fmla="*/ 228 w 883"/>
                <a:gd name="T19" fmla="*/ 129 h 191"/>
                <a:gd name="T20" fmla="*/ 230 w 883"/>
                <a:gd name="T21" fmla="*/ 118 h 191"/>
                <a:gd name="T22" fmla="*/ 230 w 883"/>
                <a:gd name="T23" fmla="*/ 110 h 191"/>
                <a:gd name="T24" fmla="*/ 225 w 883"/>
                <a:gd name="T25" fmla="*/ 100 h 191"/>
                <a:gd name="T26" fmla="*/ 218 w 883"/>
                <a:gd name="T27" fmla="*/ 92 h 191"/>
                <a:gd name="T28" fmla="*/ 205 w 883"/>
                <a:gd name="T29" fmla="*/ 87 h 191"/>
                <a:gd name="T30" fmla="*/ 53 w 883"/>
                <a:gd name="T31" fmla="*/ 86 h 191"/>
                <a:gd name="T32" fmla="*/ 47 w 883"/>
                <a:gd name="T33" fmla="*/ 86 h 191"/>
                <a:gd name="T34" fmla="*/ 36 w 883"/>
                <a:gd name="T35" fmla="*/ 81 h 191"/>
                <a:gd name="T36" fmla="*/ 27 w 883"/>
                <a:gd name="T37" fmla="*/ 72 h 191"/>
                <a:gd name="T38" fmla="*/ 22 w 883"/>
                <a:gd name="T39" fmla="*/ 61 h 191"/>
                <a:gd name="T40" fmla="*/ 22 w 883"/>
                <a:gd name="T41" fmla="*/ 55 h 191"/>
                <a:gd name="T42" fmla="*/ 24 w 883"/>
                <a:gd name="T43" fmla="*/ 42 h 191"/>
                <a:gd name="T44" fmla="*/ 32 w 883"/>
                <a:gd name="T45" fmla="*/ 33 h 191"/>
                <a:gd name="T46" fmla="*/ 41 w 883"/>
                <a:gd name="T47" fmla="*/ 27 h 191"/>
                <a:gd name="T48" fmla="*/ 53 w 883"/>
                <a:gd name="T49" fmla="*/ 24 h 191"/>
                <a:gd name="T50" fmla="*/ 777 w 883"/>
                <a:gd name="T51" fmla="*/ 0 h 191"/>
                <a:gd name="T52" fmla="*/ 53 w 883"/>
                <a:gd name="T53" fmla="*/ 2 h 191"/>
                <a:gd name="T54" fmla="*/ 33 w 883"/>
                <a:gd name="T55" fmla="*/ 7 h 191"/>
                <a:gd name="T56" fmla="*/ 16 w 883"/>
                <a:gd name="T57" fmla="*/ 17 h 191"/>
                <a:gd name="T58" fmla="*/ 5 w 883"/>
                <a:gd name="T59" fmla="*/ 34 h 191"/>
                <a:gd name="T60" fmla="*/ 0 w 883"/>
                <a:gd name="T61" fmla="*/ 55 h 191"/>
                <a:gd name="T62" fmla="*/ 2 w 883"/>
                <a:gd name="T63" fmla="*/ 65 h 191"/>
                <a:gd name="T64" fmla="*/ 10 w 883"/>
                <a:gd name="T65" fmla="*/ 84 h 191"/>
                <a:gd name="T66" fmla="*/ 24 w 883"/>
                <a:gd name="T67" fmla="*/ 98 h 191"/>
                <a:gd name="T68" fmla="*/ 42 w 883"/>
                <a:gd name="T69" fmla="*/ 106 h 191"/>
                <a:gd name="T70" fmla="*/ 199 w 883"/>
                <a:gd name="T71" fmla="*/ 107 h 191"/>
                <a:gd name="T72" fmla="*/ 204 w 883"/>
                <a:gd name="T73" fmla="*/ 107 h 191"/>
                <a:gd name="T74" fmla="*/ 208 w 883"/>
                <a:gd name="T75" fmla="*/ 113 h 191"/>
                <a:gd name="T76" fmla="*/ 210 w 883"/>
                <a:gd name="T77" fmla="*/ 118 h 191"/>
                <a:gd name="T78" fmla="*/ 207 w 883"/>
                <a:gd name="T79" fmla="*/ 124 h 191"/>
                <a:gd name="T80" fmla="*/ 199 w 883"/>
                <a:gd name="T81" fmla="*/ 127 h 191"/>
                <a:gd name="T82" fmla="*/ 157 w 883"/>
                <a:gd name="T83" fmla="*/ 127 h 191"/>
                <a:gd name="T84" fmla="*/ 145 w 883"/>
                <a:gd name="T85" fmla="*/ 131 h 191"/>
                <a:gd name="T86" fmla="*/ 135 w 883"/>
                <a:gd name="T87" fmla="*/ 137 h 191"/>
                <a:gd name="T88" fmla="*/ 129 w 883"/>
                <a:gd name="T89" fmla="*/ 148 h 191"/>
                <a:gd name="T90" fmla="*/ 126 w 883"/>
                <a:gd name="T91" fmla="*/ 158 h 191"/>
                <a:gd name="T92" fmla="*/ 128 w 883"/>
                <a:gd name="T93" fmla="*/ 166 h 191"/>
                <a:gd name="T94" fmla="*/ 132 w 883"/>
                <a:gd name="T95" fmla="*/ 177 h 191"/>
                <a:gd name="T96" fmla="*/ 140 w 883"/>
                <a:gd name="T97" fmla="*/ 185 h 191"/>
                <a:gd name="T98" fmla="*/ 151 w 883"/>
                <a:gd name="T99" fmla="*/ 189 h 191"/>
                <a:gd name="T100" fmla="*/ 883 w 883"/>
                <a:gd name="T101" fmla="*/ 188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83" h="191">
                  <a:moveTo>
                    <a:pt x="883" y="166"/>
                  </a:moveTo>
                  <a:lnTo>
                    <a:pt x="157" y="169"/>
                  </a:lnTo>
                  <a:lnTo>
                    <a:pt x="157" y="169"/>
                  </a:lnTo>
                  <a:lnTo>
                    <a:pt x="154" y="169"/>
                  </a:lnTo>
                  <a:lnTo>
                    <a:pt x="151" y="166"/>
                  </a:lnTo>
                  <a:lnTo>
                    <a:pt x="148" y="163"/>
                  </a:lnTo>
                  <a:lnTo>
                    <a:pt x="148" y="158"/>
                  </a:lnTo>
                  <a:lnTo>
                    <a:pt x="148" y="158"/>
                  </a:lnTo>
                  <a:lnTo>
                    <a:pt x="148" y="155"/>
                  </a:lnTo>
                  <a:lnTo>
                    <a:pt x="151" y="152"/>
                  </a:lnTo>
                  <a:lnTo>
                    <a:pt x="154" y="149"/>
                  </a:lnTo>
                  <a:lnTo>
                    <a:pt x="157" y="149"/>
                  </a:lnTo>
                  <a:lnTo>
                    <a:pt x="199" y="149"/>
                  </a:lnTo>
                  <a:lnTo>
                    <a:pt x="199" y="149"/>
                  </a:lnTo>
                  <a:lnTo>
                    <a:pt x="205" y="148"/>
                  </a:lnTo>
                  <a:lnTo>
                    <a:pt x="211" y="146"/>
                  </a:lnTo>
                  <a:lnTo>
                    <a:pt x="218" y="143"/>
                  </a:lnTo>
                  <a:lnTo>
                    <a:pt x="222" y="140"/>
                  </a:lnTo>
                  <a:lnTo>
                    <a:pt x="225" y="135"/>
                  </a:lnTo>
                  <a:lnTo>
                    <a:pt x="228" y="129"/>
                  </a:lnTo>
                  <a:lnTo>
                    <a:pt x="230" y="124"/>
                  </a:lnTo>
                  <a:lnTo>
                    <a:pt x="230" y="118"/>
                  </a:lnTo>
                  <a:lnTo>
                    <a:pt x="230" y="118"/>
                  </a:lnTo>
                  <a:lnTo>
                    <a:pt x="230" y="110"/>
                  </a:lnTo>
                  <a:lnTo>
                    <a:pt x="228" y="106"/>
                  </a:lnTo>
                  <a:lnTo>
                    <a:pt x="225" y="100"/>
                  </a:lnTo>
                  <a:lnTo>
                    <a:pt x="222" y="95"/>
                  </a:lnTo>
                  <a:lnTo>
                    <a:pt x="218" y="92"/>
                  </a:lnTo>
                  <a:lnTo>
                    <a:pt x="211" y="89"/>
                  </a:lnTo>
                  <a:lnTo>
                    <a:pt x="205" y="87"/>
                  </a:lnTo>
                  <a:lnTo>
                    <a:pt x="199" y="86"/>
                  </a:lnTo>
                  <a:lnTo>
                    <a:pt x="53" y="86"/>
                  </a:lnTo>
                  <a:lnTo>
                    <a:pt x="53" y="86"/>
                  </a:lnTo>
                  <a:lnTo>
                    <a:pt x="47" y="86"/>
                  </a:lnTo>
                  <a:lnTo>
                    <a:pt x="41" y="84"/>
                  </a:lnTo>
                  <a:lnTo>
                    <a:pt x="36" y="81"/>
                  </a:lnTo>
                  <a:lnTo>
                    <a:pt x="32" y="76"/>
                  </a:lnTo>
                  <a:lnTo>
                    <a:pt x="27" y="72"/>
                  </a:lnTo>
                  <a:lnTo>
                    <a:pt x="24" y="67"/>
                  </a:lnTo>
                  <a:lnTo>
                    <a:pt x="22" y="61"/>
                  </a:lnTo>
                  <a:lnTo>
                    <a:pt x="22" y="55"/>
                  </a:lnTo>
                  <a:lnTo>
                    <a:pt x="22" y="55"/>
                  </a:lnTo>
                  <a:lnTo>
                    <a:pt x="22" y="48"/>
                  </a:lnTo>
                  <a:lnTo>
                    <a:pt x="24" y="42"/>
                  </a:lnTo>
                  <a:lnTo>
                    <a:pt x="27" y="38"/>
                  </a:lnTo>
                  <a:lnTo>
                    <a:pt x="32" y="33"/>
                  </a:lnTo>
                  <a:lnTo>
                    <a:pt x="36" y="28"/>
                  </a:lnTo>
                  <a:lnTo>
                    <a:pt x="41" y="27"/>
                  </a:lnTo>
                  <a:lnTo>
                    <a:pt x="47" y="24"/>
                  </a:lnTo>
                  <a:lnTo>
                    <a:pt x="53" y="24"/>
                  </a:lnTo>
                  <a:lnTo>
                    <a:pt x="777" y="20"/>
                  </a:lnTo>
                  <a:lnTo>
                    <a:pt x="777" y="0"/>
                  </a:lnTo>
                  <a:lnTo>
                    <a:pt x="53" y="2"/>
                  </a:lnTo>
                  <a:lnTo>
                    <a:pt x="53" y="2"/>
                  </a:lnTo>
                  <a:lnTo>
                    <a:pt x="42" y="3"/>
                  </a:lnTo>
                  <a:lnTo>
                    <a:pt x="33" y="7"/>
                  </a:lnTo>
                  <a:lnTo>
                    <a:pt x="24" y="11"/>
                  </a:lnTo>
                  <a:lnTo>
                    <a:pt x="16" y="17"/>
                  </a:lnTo>
                  <a:lnTo>
                    <a:pt x="10" y="25"/>
                  </a:lnTo>
                  <a:lnTo>
                    <a:pt x="5" y="34"/>
                  </a:lnTo>
                  <a:lnTo>
                    <a:pt x="2" y="44"/>
                  </a:lnTo>
                  <a:lnTo>
                    <a:pt x="0" y="55"/>
                  </a:lnTo>
                  <a:lnTo>
                    <a:pt x="0" y="55"/>
                  </a:lnTo>
                  <a:lnTo>
                    <a:pt x="2" y="65"/>
                  </a:lnTo>
                  <a:lnTo>
                    <a:pt x="5" y="75"/>
                  </a:lnTo>
                  <a:lnTo>
                    <a:pt x="10" y="84"/>
                  </a:lnTo>
                  <a:lnTo>
                    <a:pt x="16" y="92"/>
                  </a:lnTo>
                  <a:lnTo>
                    <a:pt x="24" y="98"/>
                  </a:lnTo>
                  <a:lnTo>
                    <a:pt x="33" y="103"/>
                  </a:lnTo>
                  <a:lnTo>
                    <a:pt x="42" y="106"/>
                  </a:lnTo>
                  <a:lnTo>
                    <a:pt x="53" y="107"/>
                  </a:lnTo>
                  <a:lnTo>
                    <a:pt x="199" y="107"/>
                  </a:lnTo>
                  <a:lnTo>
                    <a:pt x="199" y="107"/>
                  </a:lnTo>
                  <a:lnTo>
                    <a:pt x="204" y="107"/>
                  </a:lnTo>
                  <a:lnTo>
                    <a:pt x="207" y="110"/>
                  </a:lnTo>
                  <a:lnTo>
                    <a:pt x="208" y="113"/>
                  </a:lnTo>
                  <a:lnTo>
                    <a:pt x="210" y="118"/>
                  </a:lnTo>
                  <a:lnTo>
                    <a:pt x="210" y="118"/>
                  </a:lnTo>
                  <a:lnTo>
                    <a:pt x="208" y="121"/>
                  </a:lnTo>
                  <a:lnTo>
                    <a:pt x="207" y="124"/>
                  </a:lnTo>
                  <a:lnTo>
                    <a:pt x="204" y="127"/>
                  </a:lnTo>
                  <a:lnTo>
                    <a:pt x="199" y="127"/>
                  </a:lnTo>
                  <a:lnTo>
                    <a:pt x="157" y="127"/>
                  </a:lnTo>
                  <a:lnTo>
                    <a:pt x="157" y="127"/>
                  </a:lnTo>
                  <a:lnTo>
                    <a:pt x="151" y="129"/>
                  </a:lnTo>
                  <a:lnTo>
                    <a:pt x="145" y="131"/>
                  </a:lnTo>
                  <a:lnTo>
                    <a:pt x="140" y="134"/>
                  </a:lnTo>
                  <a:lnTo>
                    <a:pt x="135" y="137"/>
                  </a:lnTo>
                  <a:lnTo>
                    <a:pt x="132" y="141"/>
                  </a:lnTo>
                  <a:lnTo>
                    <a:pt x="129" y="148"/>
                  </a:lnTo>
                  <a:lnTo>
                    <a:pt x="128" y="152"/>
                  </a:lnTo>
                  <a:lnTo>
                    <a:pt x="126" y="158"/>
                  </a:lnTo>
                  <a:lnTo>
                    <a:pt x="126" y="158"/>
                  </a:lnTo>
                  <a:lnTo>
                    <a:pt x="128" y="166"/>
                  </a:lnTo>
                  <a:lnTo>
                    <a:pt x="129" y="171"/>
                  </a:lnTo>
                  <a:lnTo>
                    <a:pt x="132" y="177"/>
                  </a:lnTo>
                  <a:lnTo>
                    <a:pt x="135" y="182"/>
                  </a:lnTo>
                  <a:lnTo>
                    <a:pt x="140" y="185"/>
                  </a:lnTo>
                  <a:lnTo>
                    <a:pt x="145" y="188"/>
                  </a:lnTo>
                  <a:lnTo>
                    <a:pt x="151" y="189"/>
                  </a:lnTo>
                  <a:lnTo>
                    <a:pt x="157" y="191"/>
                  </a:lnTo>
                  <a:lnTo>
                    <a:pt x="883" y="188"/>
                  </a:lnTo>
                  <a:lnTo>
                    <a:pt x="883"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ko-KR" altLang="en-US" sz="2000"/>
            </a:p>
          </p:txBody>
        </p:sp>
        <p:grpSp>
          <p:nvGrpSpPr>
            <p:cNvPr id="51" name="그룹 50">
              <a:extLst>
                <a:ext uri="{FF2B5EF4-FFF2-40B4-BE49-F238E27FC236}">
                  <a16:creationId xmlns:a16="http://schemas.microsoft.com/office/drawing/2014/main" id="{7C1A78FA-3FAB-4082-9EF6-507460074FD7}"/>
                </a:ext>
              </a:extLst>
            </p:cNvPr>
            <p:cNvGrpSpPr/>
            <p:nvPr/>
          </p:nvGrpSpPr>
          <p:grpSpPr>
            <a:xfrm>
              <a:off x="3717693" y="2900158"/>
              <a:ext cx="1766808" cy="2934010"/>
              <a:chOff x="9525" y="2387600"/>
              <a:chExt cx="1665288" cy="2765425"/>
            </a:xfrm>
            <a:grpFill/>
          </p:grpSpPr>
          <p:sp>
            <p:nvSpPr>
              <p:cNvPr id="52" name="Freeform 20">
                <a:extLst>
                  <a:ext uri="{FF2B5EF4-FFF2-40B4-BE49-F238E27FC236}">
                    <a16:creationId xmlns:a16="http://schemas.microsoft.com/office/drawing/2014/main" id="{7DB23F3B-54E4-46B7-B0D4-C491F7E3E42B}"/>
                  </a:ext>
                </a:extLst>
              </p:cNvPr>
              <p:cNvSpPr>
                <a:spLocks/>
              </p:cNvSpPr>
              <p:nvPr/>
            </p:nvSpPr>
            <p:spPr bwMode="auto">
              <a:xfrm>
                <a:off x="693738" y="2647950"/>
                <a:ext cx="227013" cy="66675"/>
              </a:xfrm>
              <a:custGeom>
                <a:avLst/>
                <a:gdLst>
                  <a:gd name="T0" fmla="*/ 72 w 143"/>
                  <a:gd name="T1" fmla="*/ 0 h 42"/>
                  <a:gd name="T2" fmla="*/ 72 w 143"/>
                  <a:gd name="T3" fmla="*/ 0 h 42"/>
                  <a:gd name="T4" fmla="*/ 61 w 143"/>
                  <a:gd name="T5" fmla="*/ 2 h 42"/>
                  <a:gd name="T6" fmla="*/ 50 w 143"/>
                  <a:gd name="T7" fmla="*/ 3 h 42"/>
                  <a:gd name="T8" fmla="*/ 39 w 143"/>
                  <a:gd name="T9" fmla="*/ 6 h 42"/>
                  <a:gd name="T10" fmla="*/ 30 w 143"/>
                  <a:gd name="T11" fmla="*/ 11 h 42"/>
                  <a:gd name="T12" fmla="*/ 20 w 143"/>
                  <a:gd name="T13" fmla="*/ 17 h 42"/>
                  <a:gd name="T14" fmla="*/ 13 w 143"/>
                  <a:gd name="T15" fmla="*/ 25 h 42"/>
                  <a:gd name="T16" fmla="*/ 7 w 143"/>
                  <a:gd name="T17" fmla="*/ 33 h 42"/>
                  <a:gd name="T18" fmla="*/ 0 w 143"/>
                  <a:gd name="T19" fmla="*/ 42 h 42"/>
                  <a:gd name="T20" fmla="*/ 143 w 143"/>
                  <a:gd name="T21" fmla="*/ 42 h 42"/>
                  <a:gd name="T22" fmla="*/ 143 w 143"/>
                  <a:gd name="T23" fmla="*/ 42 h 42"/>
                  <a:gd name="T24" fmla="*/ 137 w 143"/>
                  <a:gd name="T25" fmla="*/ 33 h 42"/>
                  <a:gd name="T26" fmla="*/ 129 w 143"/>
                  <a:gd name="T27" fmla="*/ 25 h 42"/>
                  <a:gd name="T28" fmla="*/ 121 w 143"/>
                  <a:gd name="T29" fmla="*/ 17 h 42"/>
                  <a:gd name="T30" fmla="*/ 114 w 143"/>
                  <a:gd name="T31" fmla="*/ 11 h 42"/>
                  <a:gd name="T32" fmla="*/ 104 w 143"/>
                  <a:gd name="T33" fmla="*/ 6 h 42"/>
                  <a:gd name="T34" fmla="*/ 93 w 143"/>
                  <a:gd name="T35" fmla="*/ 3 h 42"/>
                  <a:gd name="T36" fmla="*/ 82 w 143"/>
                  <a:gd name="T37" fmla="*/ 2 h 42"/>
                  <a:gd name="T38" fmla="*/ 72 w 143"/>
                  <a:gd name="T39" fmla="*/ 0 h 42"/>
                  <a:gd name="T40" fmla="*/ 72 w 143"/>
                  <a:gd name="T41"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3" h="42">
                    <a:moveTo>
                      <a:pt x="72" y="0"/>
                    </a:moveTo>
                    <a:lnTo>
                      <a:pt x="72" y="0"/>
                    </a:lnTo>
                    <a:lnTo>
                      <a:pt x="61" y="2"/>
                    </a:lnTo>
                    <a:lnTo>
                      <a:pt x="50" y="3"/>
                    </a:lnTo>
                    <a:lnTo>
                      <a:pt x="39" y="6"/>
                    </a:lnTo>
                    <a:lnTo>
                      <a:pt x="30" y="11"/>
                    </a:lnTo>
                    <a:lnTo>
                      <a:pt x="20" y="17"/>
                    </a:lnTo>
                    <a:lnTo>
                      <a:pt x="13" y="25"/>
                    </a:lnTo>
                    <a:lnTo>
                      <a:pt x="7" y="33"/>
                    </a:lnTo>
                    <a:lnTo>
                      <a:pt x="0" y="42"/>
                    </a:lnTo>
                    <a:lnTo>
                      <a:pt x="143" y="42"/>
                    </a:lnTo>
                    <a:lnTo>
                      <a:pt x="143" y="42"/>
                    </a:lnTo>
                    <a:lnTo>
                      <a:pt x="137" y="33"/>
                    </a:lnTo>
                    <a:lnTo>
                      <a:pt x="129" y="25"/>
                    </a:lnTo>
                    <a:lnTo>
                      <a:pt x="121" y="17"/>
                    </a:lnTo>
                    <a:lnTo>
                      <a:pt x="114" y="11"/>
                    </a:lnTo>
                    <a:lnTo>
                      <a:pt x="104" y="6"/>
                    </a:lnTo>
                    <a:lnTo>
                      <a:pt x="93" y="3"/>
                    </a:lnTo>
                    <a:lnTo>
                      <a:pt x="82" y="2"/>
                    </a:lnTo>
                    <a:lnTo>
                      <a:pt x="72" y="0"/>
                    </a:lnTo>
                    <a:lnTo>
                      <a:pt x="72" y="0"/>
                    </a:lnTo>
                    <a:close/>
                  </a:path>
                </a:pathLst>
              </a:cu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ko-KR" altLang="en-US">
                  <a:solidFill>
                    <a:schemeClr val="bg1"/>
                  </a:solidFill>
                </a:endParaRPr>
              </a:p>
            </p:txBody>
          </p:sp>
          <p:sp>
            <p:nvSpPr>
              <p:cNvPr id="53" name="Freeform 27">
                <a:extLst>
                  <a:ext uri="{FF2B5EF4-FFF2-40B4-BE49-F238E27FC236}">
                    <a16:creationId xmlns:a16="http://schemas.microsoft.com/office/drawing/2014/main" id="{3E6A62F2-301B-4311-862A-E0920363A29F}"/>
                  </a:ext>
                </a:extLst>
              </p:cNvPr>
              <p:cNvSpPr>
                <a:spLocks noEditPoints="1"/>
              </p:cNvSpPr>
              <p:nvPr/>
            </p:nvSpPr>
            <p:spPr bwMode="auto">
              <a:xfrm>
                <a:off x="9525" y="2387600"/>
                <a:ext cx="1665288" cy="2765425"/>
              </a:xfrm>
              <a:custGeom>
                <a:avLst/>
                <a:gdLst>
                  <a:gd name="T0" fmla="*/ 893 w 1049"/>
                  <a:gd name="T1" fmla="*/ 1685 h 1742"/>
                  <a:gd name="T2" fmla="*/ 862 w 1049"/>
                  <a:gd name="T3" fmla="*/ 1667 h 1742"/>
                  <a:gd name="T4" fmla="*/ 800 w 1049"/>
                  <a:gd name="T5" fmla="*/ 1660 h 1742"/>
                  <a:gd name="T6" fmla="*/ 808 w 1049"/>
                  <a:gd name="T7" fmla="*/ 1644 h 1742"/>
                  <a:gd name="T8" fmla="*/ 1010 w 1049"/>
                  <a:gd name="T9" fmla="*/ 1638 h 1742"/>
                  <a:gd name="T10" fmla="*/ 1047 w 1049"/>
                  <a:gd name="T11" fmla="*/ 1593 h 1742"/>
                  <a:gd name="T12" fmla="*/ 1038 w 1049"/>
                  <a:gd name="T13" fmla="*/ 1547 h 1742"/>
                  <a:gd name="T14" fmla="*/ 986 w 1049"/>
                  <a:gd name="T15" fmla="*/ 1519 h 1742"/>
                  <a:gd name="T16" fmla="*/ 910 w 1049"/>
                  <a:gd name="T17" fmla="*/ 1444 h 1742"/>
                  <a:gd name="T18" fmla="*/ 873 w 1049"/>
                  <a:gd name="T19" fmla="*/ 1347 h 1742"/>
                  <a:gd name="T20" fmla="*/ 782 w 1049"/>
                  <a:gd name="T21" fmla="*/ 1230 h 1742"/>
                  <a:gd name="T22" fmla="*/ 707 w 1049"/>
                  <a:gd name="T23" fmla="*/ 1134 h 1742"/>
                  <a:gd name="T24" fmla="*/ 687 w 1049"/>
                  <a:gd name="T25" fmla="*/ 348 h 1742"/>
                  <a:gd name="T26" fmla="*/ 670 w 1049"/>
                  <a:gd name="T27" fmla="*/ 226 h 1742"/>
                  <a:gd name="T28" fmla="*/ 613 w 1049"/>
                  <a:gd name="T29" fmla="*/ 90 h 1742"/>
                  <a:gd name="T30" fmla="*/ 535 w 1049"/>
                  <a:gd name="T31" fmla="*/ 9 h 1742"/>
                  <a:gd name="T32" fmla="*/ 495 w 1049"/>
                  <a:gd name="T33" fmla="*/ 1 h 1742"/>
                  <a:gd name="T34" fmla="*/ 422 w 1049"/>
                  <a:gd name="T35" fmla="*/ 48 h 1742"/>
                  <a:gd name="T36" fmla="*/ 354 w 1049"/>
                  <a:gd name="T37" fmla="*/ 167 h 1742"/>
                  <a:gd name="T38" fmla="*/ 318 w 1049"/>
                  <a:gd name="T39" fmla="*/ 317 h 1742"/>
                  <a:gd name="T40" fmla="*/ 320 w 1049"/>
                  <a:gd name="T41" fmla="*/ 1092 h 1742"/>
                  <a:gd name="T42" fmla="*/ 267 w 1049"/>
                  <a:gd name="T43" fmla="*/ 1193 h 1742"/>
                  <a:gd name="T44" fmla="*/ 161 w 1049"/>
                  <a:gd name="T45" fmla="*/ 1314 h 1742"/>
                  <a:gd name="T46" fmla="*/ 115 w 1049"/>
                  <a:gd name="T47" fmla="*/ 1401 h 1742"/>
                  <a:gd name="T48" fmla="*/ 96 w 1049"/>
                  <a:gd name="T49" fmla="*/ 1516 h 1742"/>
                  <a:gd name="T50" fmla="*/ 994 w 1049"/>
                  <a:gd name="T51" fmla="*/ 1545 h 1742"/>
                  <a:gd name="T52" fmla="*/ 1021 w 1049"/>
                  <a:gd name="T53" fmla="*/ 1567 h 1742"/>
                  <a:gd name="T54" fmla="*/ 1021 w 1049"/>
                  <a:gd name="T55" fmla="*/ 1596 h 1742"/>
                  <a:gd name="T56" fmla="*/ 994 w 1049"/>
                  <a:gd name="T57" fmla="*/ 1618 h 1742"/>
                  <a:gd name="T58" fmla="*/ 797 w 1049"/>
                  <a:gd name="T59" fmla="*/ 1621 h 1742"/>
                  <a:gd name="T60" fmla="*/ 776 w 1049"/>
                  <a:gd name="T61" fmla="*/ 1647 h 1742"/>
                  <a:gd name="T62" fmla="*/ 782 w 1049"/>
                  <a:gd name="T63" fmla="*/ 1677 h 1742"/>
                  <a:gd name="T64" fmla="*/ 813 w 1049"/>
                  <a:gd name="T65" fmla="*/ 1692 h 1742"/>
                  <a:gd name="T66" fmla="*/ 873 w 1049"/>
                  <a:gd name="T67" fmla="*/ 1700 h 1742"/>
                  <a:gd name="T68" fmla="*/ 867 w 1049"/>
                  <a:gd name="T69" fmla="*/ 1717 h 1742"/>
                  <a:gd name="T70" fmla="*/ 862 w 1049"/>
                  <a:gd name="T71" fmla="*/ 1742 h 1742"/>
                  <a:gd name="T72" fmla="*/ 893 w 1049"/>
                  <a:gd name="T73" fmla="*/ 1726 h 1742"/>
                  <a:gd name="T74" fmla="*/ 323 w 1049"/>
                  <a:gd name="T75" fmla="*/ 1517 h 1742"/>
                  <a:gd name="T76" fmla="*/ 144 w 1049"/>
                  <a:gd name="T77" fmla="*/ 1452 h 1742"/>
                  <a:gd name="T78" fmla="*/ 177 w 1049"/>
                  <a:gd name="T79" fmla="*/ 1365 h 1742"/>
                  <a:gd name="T80" fmla="*/ 262 w 1049"/>
                  <a:gd name="T81" fmla="*/ 1258 h 1742"/>
                  <a:gd name="T82" fmla="*/ 650 w 1049"/>
                  <a:gd name="T83" fmla="*/ 1519 h 1742"/>
                  <a:gd name="T84" fmla="*/ 363 w 1049"/>
                  <a:gd name="T85" fmla="*/ 1517 h 1742"/>
                  <a:gd name="T86" fmla="*/ 363 w 1049"/>
                  <a:gd name="T87" fmla="*/ 290 h 1742"/>
                  <a:gd name="T88" fmla="*/ 402 w 1049"/>
                  <a:gd name="T89" fmla="*/ 156 h 1742"/>
                  <a:gd name="T90" fmla="*/ 461 w 1049"/>
                  <a:gd name="T91" fmla="*/ 66 h 1742"/>
                  <a:gd name="T92" fmla="*/ 503 w 1049"/>
                  <a:gd name="T93" fmla="*/ 42 h 1742"/>
                  <a:gd name="T94" fmla="*/ 557 w 1049"/>
                  <a:gd name="T95" fmla="*/ 80 h 1742"/>
                  <a:gd name="T96" fmla="*/ 613 w 1049"/>
                  <a:gd name="T97" fmla="*/ 180 h 1742"/>
                  <a:gd name="T98" fmla="*/ 645 w 1049"/>
                  <a:gd name="T99" fmla="*/ 319 h 1742"/>
                  <a:gd name="T100" fmla="*/ 692 w 1049"/>
                  <a:gd name="T101" fmla="*/ 1189 h 1742"/>
                  <a:gd name="T102" fmla="*/ 752 w 1049"/>
                  <a:gd name="T103" fmla="*/ 1258 h 1742"/>
                  <a:gd name="T104" fmla="*/ 845 w 1049"/>
                  <a:gd name="T105" fmla="*/ 1382 h 1742"/>
                  <a:gd name="T106" fmla="*/ 873 w 1049"/>
                  <a:gd name="T107" fmla="*/ 1474 h 17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49" h="1742">
                    <a:moveTo>
                      <a:pt x="900" y="1705"/>
                    </a:moveTo>
                    <a:lnTo>
                      <a:pt x="900" y="1705"/>
                    </a:lnTo>
                    <a:lnTo>
                      <a:pt x="898" y="1697"/>
                    </a:lnTo>
                    <a:lnTo>
                      <a:pt x="897" y="1691"/>
                    </a:lnTo>
                    <a:lnTo>
                      <a:pt x="893" y="1685"/>
                    </a:lnTo>
                    <a:lnTo>
                      <a:pt x="889" y="1678"/>
                    </a:lnTo>
                    <a:lnTo>
                      <a:pt x="883" y="1674"/>
                    </a:lnTo>
                    <a:lnTo>
                      <a:pt x="876" y="1671"/>
                    </a:lnTo>
                    <a:lnTo>
                      <a:pt x="870" y="1669"/>
                    </a:lnTo>
                    <a:lnTo>
                      <a:pt x="862" y="1667"/>
                    </a:lnTo>
                    <a:lnTo>
                      <a:pt x="813" y="1667"/>
                    </a:lnTo>
                    <a:lnTo>
                      <a:pt x="813" y="1667"/>
                    </a:lnTo>
                    <a:lnTo>
                      <a:pt x="808" y="1667"/>
                    </a:lnTo>
                    <a:lnTo>
                      <a:pt x="803" y="1664"/>
                    </a:lnTo>
                    <a:lnTo>
                      <a:pt x="800" y="1660"/>
                    </a:lnTo>
                    <a:lnTo>
                      <a:pt x="800" y="1655"/>
                    </a:lnTo>
                    <a:lnTo>
                      <a:pt x="800" y="1655"/>
                    </a:lnTo>
                    <a:lnTo>
                      <a:pt x="800" y="1650"/>
                    </a:lnTo>
                    <a:lnTo>
                      <a:pt x="803" y="1647"/>
                    </a:lnTo>
                    <a:lnTo>
                      <a:pt x="808" y="1644"/>
                    </a:lnTo>
                    <a:lnTo>
                      <a:pt x="813" y="1643"/>
                    </a:lnTo>
                    <a:lnTo>
                      <a:pt x="986" y="1643"/>
                    </a:lnTo>
                    <a:lnTo>
                      <a:pt x="986" y="1643"/>
                    </a:lnTo>
                    <a:lnTo>
                      <a:pt x="999" y="1641"/>
                    </a:lnTo>
                    <a:lnTo>
                      <a:pt x="1010" y="1638"/>
                    </a:lnTo>
                    <a:lnTo>
                      <a:pt x="1021" y="1632"/>
                    </a:lnTo>
                    <a:lnTo>
                      <a:pt x="1030" y="1626"/>
                    </a:lnTo>
                    <a:lnTo>
                      <a:pt x="1038" y="1616"/>
                    </a:lnTo>
                    <a:lnTo>
                      <a:pt x="1044" y="1605"/>
                    </a:lnTo>
                    <a:lnTo>
                      <a:pt x="1047" y="1593"/>
                    </a:lnTo>
                    <a:lnTo>
                      <a:pt x="1049" y="1581"/>
                    </a:lnTo>
                    <a:lnTo>
                      <a:pt x="1049" y="1581"/>
                    </a:lnTo>
                    <a:lnTo>
                      <a:pt x="1047" y="1568"/>
                    </a:lnTo>
                    <a:lnTo>
                      <a:pt x="1044" y="1557"/>
                    </a:lnTo>
                    <a:lnTo>
                      <a:pt x="1038" y="1547"/>
                    </a:lnTo>
                    <a:lnTo>
                      <a:pt x="1030" y="1537"/>
                    </a:lnTo>
                    <a:lnTo>
                      <a:pt x="1021" y="1530"/>
                    </a:lnTo>
                    <a:lnTo>
                      <a:pt x="1010" y="1523"/>
                    </a:lnTo>
                    <a:lnTo>
                      <a:pt x="999" y="1520"/>
                    </a:lnTo>
                    <a:lnTo>
                      <a:pt x="986" y="1519"/>
                    </a:lnTo>
                    <a:lnTo>
                      <a:pt x="917" y="1519"/>
                    </a:lnTo>
                    <a:lnTo>
                      <a:pt x="917" y="1519"/>
                    </a:lnTo>
                    <a:lnTo>
                      <a:pt x="917" y="1492"/>
                    </a:lnTo>
                    <a:lnTo>
                      <a:pt x="914" y="1468"/>
                    </a:lnTo>
                    <a:lnTo>
                      <a:pt x="910" y="1444"/>
                    </a:lnTo>
                    <a:lnTo>
                      <a:pt x="904" y="1423"/>
                    </a:lnTo>
                    <a:lnTo>
                      <a:pt x="898" y="1402"/>
                    </a:lnTo>
                    <a:lnTo>
                      <a:pt x="890" y="1382"/>
                    </a:lnTo>
                    <a:lnTo>
                      <a:pt x="883" y="1364"/>
                    </a:lnTo>
                    <a:lnTo>
                      <a:pt x="873" y="1347"/>
                    </a:lnTo>
                    <a:lnTo>
                      <a:pt x="862" y="1330"/>
                    </a:lnTo>
                    <a:lnTo>
                      <a:pt x="853" y="1314"/>
                    </a:lnTo>
                    <a:lnTo>
                      <a:pt x="830" y="1285"/>
                    </a:lnTo>
                    <a:lnTo>
                      <a:pt x="807" y="1257"/>
                    </a:lnTo>
                    <a:lnTo>
                      <a:pt x="782" y="1230"/>
                    </a:lnTo>
                    <a:lnTo>
                      <a:pt x="782" y="1230"/>
                    </a:lnTo>
                    <a:lnTo>
                      <a:pt x="748" y="1193"/>
                    </a:lnTo>
                    <a:lnTo>
                      <a:pt x="732" y="1175"/>
                    </a:lnTo>
                    <a:lnTo>
                      <a:pt x="718" y="1154"/>
                    </a:lnTo>
                    <a:lnTo>
                      <a:pt x="707" y="1134"/>
                    </a:lnTo>
                    <a:lnTo>
                      <a:pt x="700" y="1114"/>
                    </a:lnTo>
                    <a:lnTo>
                      <a:pt x="693" y="1092"/>
                    </a:lnTo>
                    <a:lnTo>
                      <a:pt x="692" y="1080"/>
                    </a:lnTo>
                    <a:lnTo>
                      <a:pt x="692" y="1068"/>
                    </a:lnTo>
                    <a:lnTo>
                      <a:pt x="687" y="348"/>
                    </a:lnTo>
                    <a:lnTo>
                      <a:pt x="687" y="348"/>
                    </a:lnTo>
                    <a:lnTo>
                      <a:pt x="686" y="317"/>
                    </a:lnTo>
                    <a:lnTo>
                      <a:pt x="683" y="286"/>
                    </a:lnTo>
                    <a:lnTo>
                      <a:pt x="678" y="255"/>
                    </a:lnTo>
                    <a:lnTo>
                      <a:pt x="670" y="226"/>
                    </a:lnTo>
                    <a:lnTo>
                      <a:pt x="662" y="195"/>
                    </a:lnTo>
                    <a:lnTo>
                      <a:pt x="652" y="167"/>
                    </a:lnTo>
                    <a:lnTo>
                      <a:pt x="641" y="139"/>
                    </a:lnTo>
                    <a:lnTo>
                      <a:pt x="627" y="113"/>
                    </a:lnTo>
                    <a:lnTo>
                      <a:pt x="613" y="90"/>
                    </a:lnTo>
                    <a:lnTo>
                      <a:pt x="599" y="68"/>
                    </a:lnTo>
                    <a:lnTo>
                      <a:pt x="583" y="48"/>
                    </a:lnTo>
                    <a:lnTo>
                      <a:pt x="568" y="32"/>
                    </a:lnTo>
                    <a:lnTo>
                      <a:pt x="552" y="18"/>
                    </a:lnTo>
                    <a:lnTo>
                      <a:pt x="535" y="9"/>
                    </a:lnTo>
                    <a:lnTo>
                      <a:pt x="518" y="3"/>
                    </a:lnTo>
                    <a:lnTo>
                      <a:pt x="510" y="1"/>
                    </a:lnTo>
                    <a:lnTo>
                      <a:pt x="503" y="0"/>
                    </a:lnTo>
                    <a:lnTo>
                      <a:pt x="503" y="0"/>
                    </a:lnTo>
                    <a:lnTo>
                      <a:pt x="495" y="1"/>
                    </a:lnTo>
                    <a:lnTo>
                      <a:pt x="486" y="3"/>
                    </a:lnTo>
                    <a:lnTo>
                      <a:pt x="470" y="9"/>
                    </a:lnTo>
                    <a:lnTo>
                      <a:pt x="453" y="18"/>
                    </a:lnTo>
                    <a:lnTo>
                      <a:pt x="438" y="32"/>
                    </a:lnTo>
                    <a:lnTo>
                      <a:pt x="422" y="48"/>
                    </a:lnTo>
                    <a:lnTo>
                      <a:pt x="406" y="68"/>
                    </a:lnTo>
                    <a:lnTo>
                      <a:pt x="391" y="90"/>
                    </a:lnTo>
                    <a:lnTo>
                      <a:pt x="377" y="113"/>
                    </a:lnTo>
                    <a:lnTo>
                      <a:pt x="365" y="139"/>
                    </a:lnTo>
                    <a:lnTo>
                      <a:pt x="354" y="167"/>
                    </a:lnTo>
                    <a:lnTo>
                      <a:pt x="343" y="195"/>
                    </a:lnTo>
                    <a:lnTo>
                      <a:pt x="335" y="226"/>
                    </a:lnTo>
                    <a:lnTo>
                      <a:pt x="327" y="255"/>
                    </a:lnTo>
                    <a:lnTo>
                      <a:pt x="323" y="286"/>
                    </a:lnTo>
                    <a:lnTo>
                      <a:pt x="318" y="317"/>
                    </a:lnTo>
                    <a:lnTo>
                      <a:pt x="318" y="348"/>
                    </a:lnTo>
                    <a:lnTo>
                      <a:pt x="323" y="1068"/>
                    </a:lnTo>
                    <a:lnTo>
                      <a:pt x="323" y="1068"/>
                    </a:lnTo>
                    <a:lnTo>
                      <a:pt x="321" y="1080"/>
                    </a:lnTo>
                    <a:lnTo>
                      <a:pt x="320" y="1092"/>
                    </a:lnTo>
                    <a:lnTo>
                      <a:pt x="315" y="1114"/>
                    </a:lnTo>
                    <a:lnTo>
                      <a:pt x="306" y="1134"/>
                    </a:lnTo>
                    <a:lnTo>
                      <a:pt x="295" y="1154"/>
                    </a:lnTo>
                    <a:lnTo>
                      <a:pt x="281" y="1175"/>
                    </a:lnTo>
                    <a:lnTo>
                      <a:pt x="267" y="1193"/>
                    </a:lnTo>
                    <a:lnTo>
                      <a:pt x="231" y="1230"/>
                    </a:lnTo>
                    <a:lnTo>
                      <a:pt x="231" y="1230"/>
                    </a:lnTo>
                    <a:lnTo>
                      <a:pt x="208" y="1257"/>
                    </a:lnTo>
                    <a:lnTo>
                      <a:pt x="185" y="1285"/>
                    </a:lnTo>
                    <a:lnTo>
                      <a:pt x="161" y="1314"/>
                    </a:lnTo>
                    <a:lnTo>
                      <a:pt x="151" y="1330"/>
                    </a:lnTo>
                    <a:lnTo>
                      <a:pt x="141" y="1347"/>
                    </a:lnTo>
                    <a:lnTo>
                      <a:pt x="132" y="1364"/>
                    </a:lnTo>
                    <a:lnTo>
                      <a:pt x="123" y="1382"/>
                    </a:lnTo>
                    <a:lnTo>
                      <a:pt x="115" y="1401"/>
                    </a:lnTo>
                    <a:lnTo>
                      <a:pt x="109" y="1421"/>
                    </a:lnTo>
                    <a:lnTo>
                      <a:pt x="104" y="1443"/>
                    </a:lnTo>
                    <a:lnTo>
                      <a:pt x="99" y="1466"/>
                    </a:lnTo>
                    <a:lnTo>
                      <a:pt x="98" y="1491"/>
                    </a:lnTo>
                    <a:lnTo>
                      <a:pt x="96" y="1516"/>
                    </a:lnTo>
                    <a:lnTo>
                      <a:pt x="0" y="1516"/>
                    </a:lnTo>
                    <a:lnTo>
                      <a:pt x="0" y="1540"/>
                    </a:lnTo>
                    <a:lnTo>
                      <a:pt x="986" y="1543"/>
                    </a:lnTo>
                    <a:lnTo>
                      <a:pt x="986" y="1543"/>
                    </a:lnTo>
                    <a:lnTo>
                      <a:pt x="994" y="1545"/>
                    </a:lnTo>
                    <a:lnTo>
                      <a:pt x="1000" y="1547"/>
                    </a:lnTo>
                    <a:lnTo>
                      <a:pt x="1007" y="1550"/>
                    </a:lnTo>
                    <a:lnTo>
                      <a:pt x="1013" y="1554"/>
                    </a:lnTo>
                    <a:lnTo>
                      <a:pt x="1017" y="1561"/>
                    </a:lnTo>
                    <a:lnTo>
                      <a:pt x="1021" y="1567"/>
                    </a:lnTo>
                    <a:lnTo>
                      <a:pt x="1022" y="1573"/>
                    </a:lnTo>
                    <a:lnTo>
                      <a:pt x="1024" y="1581"/>
                    </a:lnTo>
                    <a:lnTo>
                      <a:pt x="1024" y="1581"/>
                    </a:lnTo>
                    <a:lnTo>
                      <a:pt x="1022" y="1588"/>
                    </a:lnTo>
                    <a:lnTo>
                      <a:pt x="1021" y="1596"/>
                    </a:lnTo>
                    <a:lnTo>
                      <a:pt x="1017" y="1602"/>
                    </a:lnTo>
                    <a:lnTo>
                      <a:pt x="1013" y="1607"/>
                    </a:lnTo>
                    <a:lnTo>
                      <a:pt x="1007" y="1612"/>
                    </a:lnTo>
                    <a:lnTo>
                      <a:pt x="1000" y="1615"/>
                    </a:lnTo>
                    <a:lnTo>
                      <a:pt x="994" y="1618"/>
                    </a:lnTo>
                    <a:lnTo>
                      <a:pt x="986" y="1618"/>
                    </a:lnTo>
                    <a:lnTo>
                      <a:pt x="813" y="1618"/>
                    </a:lnTo>
                    <a:lnTo>
                      <a:pt x="813" y="1618"/>
                    </a:lnTo>
                    <a:lnTo>
                      <a:pt x="805" y="1619"/>
                    </a:lnTo>
                    <a:lnTo>
                      <a:pt x="797" y="1621"/>
                    </a:lnTo>
                    <a:lnTo>
                      <a:pt x="791" y="1624"/>
                    </a:lnTo>
                    <a:lnTo>
                      <a:pt x="786" y="1629"/>
                    </a:lnTo>
                    <a:lnTo>
                      <a:pt x="782" y="1635"/>
                    </a:lnTo>
                    <a:lnTo>
                      <a:pt x="779" y="1641"/>
                    </a:lnTo>
                    <a:lnTo>
                      <a:pt x="776" y="1647"/>
                    </a:lnTo>
                    <a:lnTo>
                      <a:pt x="776" y="1655"/>
                    </a:lnTo>
                    <a:lnTo>
                      <a:pt x="776" y="1655"/>
                    </a:lnTo>
                    <a:lnTo>
                      <a:pt x="776" y="1663"/>
                    </a:lnTo>
                    <a:lnTo>
                      <a:pt x="779" y="1671"/>
                    </a:lnTo>
                    <a:lnTo>
                      <a:pt x="782" y="1677"/>
                    </a:lnTo>
                    <a:lnTo>
                      <a:pt x="786" y="1681"/>
                    </a:lnTo>
                    <a:lnTo>
                      <a:pt x="791" y="1686"/>
                    </a:lnTo>
                    <a:lnTo>
                      <a:pt x="797" y="1689"/>
                    </a:lnTo>
                    <a:lnTo>
                      <a:pt x="805" y="1692"/>
                    </a:lnTo>
                    <a:lnTo>
                      <a:pt x="813" y="1692"/>
                    </a:lnTo>
                    <a:lnTo>
                      <a:pt x="862" y="1692"/>
                    </a:lnTo>
                    <a:lnTo>
                      <a:pt x="862" y="1692"/>
                    </a:lnTo>
                    <a:lnTo>
                      <a:pt x="867" y="1694"/>
                    </a:lnTo>
                    <a:lnTo>
                      <a:pt x="870" y="1697"/>
                    </a:lnTo>
                    <a:lnTo>
                      <a:pt x="873" y="1700"/>
                    </a:lnTo>
                    <a:lnTo>
                      <a:pt x="875" y="1705"/>
                    </a:lnTo>
                    <a:lnTo>
                      <a:pt x="875" y="1705"/>
                    </a:lnTo>
                    <a:lnTo>
                      <a:pt x="873" y="1709"/>
                    </a:lnTo>
                    <a:lnTo>
                      <a:pt x="870" y="1714"/>
                    </a:lnTo>
                    <a:lnTo>
                      <a:pt x="867" y="1717"/>
                    </a:lnTo>
                    <a:lnTo>
                      <a:pt x="862" y="1717"/>
                    </a:lnTo>
                    <a:lnTo>
                      <a:pt x="0" y="1714"/>
                    </a:lnTo>
                    <a:lnTo>
                      <a:pt x="0" y="1739"/>
                    </a:lnTo>
                    <a:lnTo>
                      <a:pt x="862" y="1742"/>
                    </a:lnTo>
                    <a:lnTo>
                      <a:pt x="862" y="1742"/>
                    </a:lnTo>
                    <a:lnTo>
                      <a:pt x="870" y="1742"/>
                    </a:lnTo>
                    <a:lnTo>
                      <a:pt x="876" y="1739"/>
                    </a:lnTo>
                    <a:lnTo>
                      <a:pt x="883" y="1736"/>
                    </a:lnTo>
                    <a:lnTo>
                      <a:pt x="889" y="1731"/>
                    </a:lnTo>
                    <a:lnTo>
                      <a:pt x="893" y="1726"/>
                    </a:lnTo>
                    <a:lnTo>
                      <a:pt x="897" y="1720"/>
                    </a:lnTo>
                    <a:lnTo>
                      <a:pt x="898" y="1712"/>
                    </a:lnTo>
                    <a:lnTo>
                      <a:pt x="900" y="1705"/>
                    </a:lnTo>
                    <a:lnTo>
                      <a:pt x="900" y="1705"/>
                    </a:lnTo>
                    <a:close/>
                    <a:moveTo>
                      <a:pt x="323" y="1517"/>
                    </a:moveTo>
                    <a:lnTo>
                      <a:pt x="137" y="1517"/>
                    </a:lnTo>
                    <a:lnTo>
                      <a:pt x="137" y="1517"/>
                    </a:lnTo>
                    <a:lnTo>
                      <a:pt x="138" y="1494"/>
                    </a:lnTo>
                    <a:lnTo>
                      <a:pt x="140" y="1472"/>
                    </a:lnTo>
                    <a:lnTo>
                      <a:pt x="144" y="1452"/>
                    </a:lnTo>
                    <a:lnTo>
                      <a:pt x="149" y="1432"/>
                    </a:lnTo>
                    <a:lnTo>
                      <a:pt x="154" y="1415"/>
                    </a:lnTo>
                    <a:lnTo>
                      <a:pt x="161" y="1398"/>
                    </a:lnTo>
                    <a:lnTo>
                      <a:pt x="169" y="1381"/>
                    </a:lnTo>
                    <a:lnTo>
                      <a:pt x="177" y="1365"/>
                    </a:lnTo>
                    <a:lnTo>
                      <a:pt x="196" y="1336"/>
                    </a:lnTo>
                    <a:lnTo>
                      <a:pt x="217" y="1309"/>
                    </a:lnTo>
                    <a:lnTo>
                      <a:pt x="239" y="1283"/>
                    </a:lnTo>
                    <a:lnTo>
                      <a:pt x="262" y="1258"/>
                    </a:lnTo>
                    <a:lnTo>
                      <a:pt x="262" y="1258"/>
                    </a:lnTo>
                    <a:lnTo>
                      <a:pt x="293" y="1224"/>
                    </a:lnTo>
                    <a:lnTo>
                      <a:pt x="309" y="1206"/>
                    </a:lnTo>
                    <a:lnTo>
                      <a:pt x="323" y="1189"/>
                    </a:lnTo>
                    <a:lnTo>
                      <a:pt x="323" y="1517"/>
                    </a:lnTo>
                    <a:close/>
                    <a:moveTo>
                      <a:pt x="650" y="1519"/>
                    </a:moveTo>
                    <a:lnTo>
                      <a:pt x="527" y="1517"/>
                    </a:lnTo>
                    <a:lnTo>
                      <a:pt x="527" y="511"/>
                    </a:lnTo>
                    <a:lnTo>
                      <a:pt x="486" y="511"/>
                    </a:lnTo>
                    <a:lnTo>
                      <a:pt x="486" y="1517"/>
                    </a:lnTo>
                    <a:lnTo>
                      <a:pt x="363" y="1517"/>
                    </a:lnTo>
                    <a:lnTo>
                      <a:pt x="363" y="1068"/>
                    </a:lnTo>
                    <a:lnTo>
                      <a:pt x="358" y="348"/>
                    </a:lnTo>
                    <a:lnTo>
                      <a:pt x="358" y="348"/>
                    </a:lnTo>
                    <a:lnTo>
                      <a:pt x="360" y="319"/>
                    </a:lnTo>
                    <a:lnTo>
                      <a:pt x="363" y="290"/>
                    </a:lnTo>
                    <a:lnTo>
                      <a:pt x="368" y="260"/>
                    </a:lnTo>
                    <a:lnTo>
                      <a:pt x="375" y="232"/>
                    </a:lnTo>
                    <a:lnTo>
                      <a:pt x="383" y="206"/>
                    </a:lnTo>
                    <a:lnTo>
                      <a:pt x="393" y="180"/>
                    </a:lnTo>
                    <a:lnTo>
                      <a:pt x="402" y="156"/>
                    </a:lnTo>
                    <a:lnTo>
                      <a:pt x="413" y="135"/>
                    </a:lnTo>
                    <a:lnTo>
                      <a:pt x="425" y="114"/>
                    </a:lnTo>
                    <a:lnTo>
                      <a:pt x="438" y="96"/>
                    </a:lnTo>
                    <a:lnTo>
                      <a:pt x="448" y="80"/>
                    </a:lnTo>
                    <a:lnTo>
                      <a:pt x="461" y="66"/>
                    </a:lnTo>
                    <a:lnTo>
                      <a:pt x="472" y="56"/>
                    </a:lnTo>
                    <a:lnTo>
                      <a:pt x="482" y="48"/>
                    </a:lnTo>
                    <a:lnTo>
                      <a:pt x="493" y="43"/>
                    </a:lnTo>
                    <a:lnTo>
                      <a:pt x="503" y="42"/>
                    </a:lnTo>
                    <a:lnTo>
                      <a:pt x="503" y="42"/>
                    </a:lnTo>
                    <a:lnTo>
                      <a:pt x="512" y="43"/>
                    </a:lnTo>
                    <a:lnTo>
                      <a:pt x="521" y="48"/>
                    </a:lnTo>
                    <a:lnTo>
                      <a:pt x="532" y="56"/>
                    </a:lnTo>
                    <a:lnTo>
                      <a:pt x="545" y="66"/>
                    </a:lnTo>
                    <a:lnTo>
                      <a:pt x="557" y="80"/>
                    </a:lnTo>
                    <a:lnTo>
                      <a:pt x="568" y="96"/>
                    </a:lnTo>
                    <a:lnTo>
                      <a:pt x="580" y="114"/>
                    </a:lnTo>
                    <a:lnTo>
                      <a:pt x="591" y="135"/>
                    </a:lnTo>
                    <a:lnTo>
                      <a:pt x="602" y="156"/>
                    </a:lnTo>
                    <a:lnTo>
                      <a:pt x="613" y="180"/>
                    </a:lnTo>
                    <a:lnTo>
                      <a:pt x="622" y="206"/>
                    </a:lnTo>
                    <a:lnTo>
                      <a:pt x="630" y="232"/>
                    </a:lnTo>
                    <a:lnTo>
                      <a:pt x="638" y="260"/>
                    </a:lnTo>
                    <a:lnTo>
                      <a:pt x="642" y="290"/>
                    </a:lnTo>
                    <a:lnTo>
                      <a:pt x="645" y="319"/>
                    </a:lnTo>
                    <a:lnTo>
                      <a:pt x="647" y="348"/>
                    </a:lnTo>
                    <a:lnTo>
                      <a:pt x="650" y="1068"/>
                    </a:lnTo>
                    <a:lnTo>
                      <a:pt x="650" y="1519"/>
                    </a:lnTo>
                    <a:close/>
                    <a:moveTo>
                      <a:pt x="692" y="1519"/>
                    </a:moveTo>
                    <a:lnTo>
                      <a:pt x="692" y="1189"/>
                    </a:lnTo>
                    <a:lnTo>
                      <a:pt x="692" y="1189"/>
                    </a:lnTo>
                    <a:lnTo>
                      <a:pt x="706" y="1206"/>
                    </a:lnTo>
                    <a:lnTo>
                      <a:pt x="720" y="1224"/>
                    </a:lnTo>
                    <a:lnTo>
                      <a:pt x="752" y="1258"/>
                    </a:lnTo>
                    <a:lnTo>
                      <a:pt x="752" y="1258"/>
                    </a:lnTo>
                    <a:lnTo>
                      <a:pt x="774" y="1283"/>
                    </a:lnTo>
                    <a:lnTo>
                      <a:pt x="797" y="1309"/>
                    </a:lnTo>
                    <a:lnTo>
                      <a:pt x="817" y="1336"/>
                    </a:lnTo>
                    <a:lnTo>
                      <a:pt x="836" y="1365"/>
                    </a:lnTo>
                    <a:lnTo>
                      <a:pt x="845" y="1382"/>
                    </a:lnTo>
                    <a:lnTo>
                      <a:pt x="853" y="1398"/>
                    </a:lnTo>
                    <a:lnTo>
                      <a:pt x="859" y="1415"/>
                    </a:lnTo>
                    <a:lnTo>
                      <a:pt x="866" y="1433"/>
                    </a:lnTo>
                    <a:lnTo>
                      <a:pt x="870" y="1454"/>
                    </a:lnTo>
                    <a:lnTo>
                      <a:pt x="873" y="1474"/>
                    </a:lnTo>
                    <a:lnTo>
                      <a:pt x="875" y="1495"/>
                    </a:lnTo>
                    <a:lnTo>
                      <a:pt x="876" y="1519"/>
                    </a:lnTo>
                    <a:lnTo>
                      <a:pt x="692" y="15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ctr" anchorCtr="0" compatLnSpc="1">
                <a:prstTxWarp prst="textNoShape">
                  <a:avLst/>
                </a:prstTxWarp>
              </a:bodyPr>
              <a:lstStyle/>
              <a:p>
                <a:endParaRPr lang="ko-KR" altLang="en-US" sz="2000" dirty="0"/>
              </a:p>
            </p:txBody>
          </p:sp>
        </p:grpSp>
      </p:grpSp>
    </p:spTree>
    <p:extLst>
      <p:ext uri="{BB962C8B-B14F-4D97-AF65-F5344CB8AC3E}">
        <p14:creationId xmlns:p14="http://schemas.microsoft.com/office/powerpoint/2010/main" val="31338569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fade">
                                      <p:cBhvr>
                                        <p:cTn id="7" dur="500"/>
                                        <p:tgtEl>
                                          <p:spTgt spid="5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1"/>
                                        </p:tgtEl>
                                        <p:attrNameLst>
                                          <p:attrName>style.visibility</p:attrName>
                                        </p:attrNameLst>
                                      </p:cBhvr>
                                      <p:to>
                                        <p:strVal val="visible"/>
                                      </p:to>
                                    </p:set>
                                    <p:animEffect transition="in" filter="fade">
                                      <p:cBhvr>
                                        <p:cTn id="13" dur="500"/>
                                        <p:tgtEl>
                                          <p:spTgt spid="6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8"/>
                                        </p:tgtEl>
                                        <p:attrNameLst>
                                          <p:attrName>style.visibility</p:attrName>
                                        </p:attrNameLst>
                                      </p:cBhvr>
                                      <p:to>
                                        <p:strVal val="visible"/>
                                      </p:to>
                                    </p:set>
                                    <p:animEffect transition="in" filter="fade">
                                      <p:cBhvr>
                                        <p:cTn id="18" dur="500"/>
                                        <p:tgtEl>
                                          <p:spTgt spid="5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59"/>
                                        </p:tgtEl>
                                        <p:attrNameLst>
                                          <p:attrName>style.visibility</p:attrName>
                                        </p:attrNameLst>
                                      </p:cBhvr>
                                      <p:to>
                                        <p:strVal val="visible"/>
                                      </p:to>
                                    </p:set>
                                    <p:animEffect transition="in" filter="fade">
                                      <p:cBhvr>
                                        <p:cTn id="21" dur="500"/>
                                        <p:tgtEl>
                                          <p:spTgt spid="5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63"/>
                                        </p:tgtEl>
                                        <p:attrNameLst>
                                          <p:attrName>style.visibility</p:attrName>
                                        </p:attrNameLst>
                                      </p:cBhvr>
                                      <p:to>
                                        <p:strVal val="visible"/>
                                      </p:to>
                                    </p:set>
                                    <p:animEffect transition="in" filter="fade">
                                      <p:cBhvr>
                                        <p:cTn id="24" dur="500"/>
                                        <p:tgtEl>
                                          <p:spTgt spid="6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56"/>
                                        </p:tgtEl>
                                        <p:attrNameLst>
                                          <p:attrName>style.visibility</p:attrName>
                                        </p:attrNameLst>
                                      </p:cBhvr>
                                      <p:to>
                                        <p:strVal val="visible"/>
                                      </p:to>
                                    </p:set>
                                    <p:animEffect transition="in" filter="fade">
                                      <p:cBhvr>
                                        <p:cTn id="29" dur="500"/>
                                        <p:tgtEl>
                                          <p:spTgt spid="56"/>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57"/>
                                        </p:tgtEl>
                                        <p:attrNameLst>
                                          <p:attrName>style.visibility</p:attrName>
                                        </p:attrNameLst>
                                      </p:cBhvr>
                                      <p:to>
                                        <p:strVal val="visible"/>
                                      </p:to>
                                    </p:set>
                                    <p:animEffect transition="in" filter="fade">
                                      <p:cBhvr>
                                        <p:cTn id="32" dur="500"/>
                                        <p:tgtEl>
                                          <p:spTgt spid="57"/>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62"/>
                                        </p:tgtEl>
                                        <p:attrNameLst>
                                          <p:attrName>style.visibility</p:attrName>
                                        </p:attrNameLst>
                                      </p:cBhvr>
                                      <p:to>
                                        <p:strVal val="visible"/>
                                      </p:to>
                                    </p:set>
                                    <p:animEffect transition="in" filter="fade">
                                      <p:cBhvr>
                                        <p:cTn id="35"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8" grpId="0" animBg="1"/>
      <p:bldP spid="59" grpId="0"/>
      <p:bldP spid="55" grpId="0" animBg="1"/>
      <p:bldP spid="17" grpId="0"/>
      <p:bldP spid="56" grpId="0" animBg="1"/>
      <p:bldP spid="57" grpId="0"/>
      <p:bldP spid="61" grpId="0"/>
      <p:bldP spid="62" grpId="0"/>
      <p:bldP spid="63"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ACD4DC-5E9A-4742-BC99-8FC4EB2BD427}"/>
              </a:ext>
            </a:extLst>
          </p:cNvPr>
          <p:cNvGraphicFramePr>
            <a:graphicFrameLocks noChangeAspect="1"/>
          </p:cNvGraphicFramePr>
          <p:nvPr>
            <p:custDataLst>
              <p:tags r:id="rId2"/>
            </p:custDataLst>
            <p:extLst>
              <p:ext uri="{D42A27DB-BD31-4B8C-83A1-F6EECF244321}">
                <p14:modId xmlns:p14="http://schemas.microsoft.com/office/powerpoint/2010/main" val="267790594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51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grpSp>
        <p:nvGrpSpPr>
          <p:cNvPr id="5" name="그룹 4">
            <a:extLst>
              <a:ext uri="{FF2B5EF4-FFF2-40B4-BE49-F238E27FC236}">
                <a16:creationId xmlns:a16="http://schemas.microsoft.com/office/drawing/2014/main" id="{D6013629-A004-45E8-863A-FD40E8154322}"/>
              </a:ext>
            </a:extLst>
          </p:cNvPr>
          <p:cNvGrpSpPr/>
          <p:nvPr/>
        </p:nvGrpSpPr>
        <p:grpSpPr>
          <a:xfrm>
            <a:off x="1328075" y="4442243"/>
            <a:ext cx="7549225" cy="981712"/>
            <a:chOff x="5589850" y="2861607"/>
            <a:chExt cx="7549225" cy="981712"/>
          </a:xfrm>
        </p:grpSpPr>
        <p:sp>
          <p:nvSpPr>
            <p:cNvPr id="6" name="TextBox 5">
              <a:extLst>
                <a:ext uri="{FF2B5EF4-FFF2-40B4-BE49-F238E27FC236}">
                  <a16:creationId xmlns:a16="http://schemas.microsoft.com/office/drawing/2014/main" id="{6FDD2501-5ADE-4D06-A718-507E8FD35786}"/>
                </a:ext>
              </a:extLst>
            </p:cNvPr>
            <p:cNvSpPr txBox="1"/>
            <p:nvPr/>
          </p:nvSpPr>
          <p:spPr>
            <a:xfrm>
              <a:off x="5589850" y="2861607"/>
              <a:ext cx="3229479" cy="523220"/>
            </a:xfrm>
            <a:prstGeom prst="rect">
              <a:avLst/>
            </a:prstGeom>
            <a:noFill/>
          </p:spPr>
          <p:txBody>
            <a:bodyPr wrap="square" rtlCol="0">
              <a:spAutoFit/>
            </a:bodyPr>
            <a:lstStyle/>
            <a:p>
              <a:pPr lvl="0"/>
              <a:r>
                <a:rPr lang="en-US" altLang="ko-KR" sz="2800" spc="300" dirty="0">
                  <a:ln>
                    <a:solidFill>
                      <a:srgbClr val="3E8E86">
                        <a:alpha val="0"/>
                      </a:srgbClr>
                    </a:solidFill>
                  </a:ln>
                  <a:solidFill>
                    <a:prstClr val="white"/>
                  </a:solidFill>
                  <a:latin typeface="Montserrat Medium"/>
                  <a:ea typeface="맑은 고딕" panose="020B0503020000020004" pitchFamily="50" charset="-127"/>
                  <a:cs typeface="Calibri" panose="020F0502020204030204" pitchFamily="34" charset="0"/>
                </a:rPr>
                <a:t>TWITTER</a:t>
              </a:r>
            </a:p>
          </p:txBody>
        </p:sp>
        <p:sp>
          <p:nvSpPr>
            <p:cNvPr id="7" name="TextBox 6">
              <a:extLst>
                <a:ext uri="{FF2B5EF4-FFF2-40B4-BE49-F238E27FC236}">
                  <a16:creationId xmlns:a16="http://schemas.microsoft.com/office/drawing/2014/main" id="{A1B33A84-2EA2-4534-BC73-CDD8538B83AD}"/>
                </a:ext>
              </a:extLst>
            </p:cNvPr>
            <p:cNvSpPr txBox="1"/>
            <p:nvPr/>
          </p:nvSpPr>
          <p:spPr>
            <a:xfrm>
              <a:off x="5589850" y="3574143"/>
              <a:ext cx="7549225" cy="269176"/>
            </a:xfrm>
            <a:prstGeom prst="rect">
              <a:avLst/>
            </a:prstGeom>
            <a:noFill/>
          </p:spPr>
          <p:txBody>
            <a:bodyPr wrap="square" rtlCol="0">
              <a:spAutoFit/>
            </a:bodyPr>
            <a:lstStyle/>
            <a:p>
              <a:pPr>
                <a:lnSpc>
                  <a:spcPct val="110000"/>
                </a:lnSpc>
              </a:pPr>
              <a:endParaRPr lang="en-US" altLang="ko-KR" sz="1100" dirty="0">
                <a:solidFill>
                  <a:schemeClr val="bg1">
                    <a:lumMod val="95000"/>
                  </a:schemeClr>
                </a:solidFill>
                <a:ea typeface="맑은 고딕" panose="020B0503020000020004" pitchFamily="50" charset="-127"/>
                <a:cs typeface="Calibri" panose="020F0502020204030204" pitchFamily="34" charset="0"/>
              </a:endParaRPr>
            </a:p>
          </p:txBody>
        </p:sp>
      </p:grpSp>
      <p:cxnSp>
        <p:nvCxnSpPr>
          <p:cNvPr id="8" name="직선 연결선 7">
            <a:extLst>
              <a:ext uri="{FF2B5EF4-FFF2-40B4-BE49-F238E27FC236}">
                <a16:creationId xmlns:a16="http://schemas.microsoft.com/office/drawing/2014/main" id="{BBB97289-A4AB-4FDA-ADCC-56760D463410}"/>
              </a:ext>
            </a:extLst>
          </p:cNvPr>
          <p:cNvCxnSpPr>
            <a:cxnSpLocks/>
          </p:cNvCxnSpPr>
          <p:nvPr/>
        </p:nvCxnSpPr>
        <p:spPr>
          <a:xfrm>
            <a:off x="10706555" y="0"/>
            <a:ext cx="0" cy="1228725"/>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9" name="직선 연결선 8">
            <a:extLst>
              <a:ext uri="{FF2B5EF4-FFF2-40B4-BE49-F238E27FC236}">
                <a16:creationId xmlns:a16="http://schemas.microsoft.com/office/drawing/2014/main" id="{D0425BC6-F182-4E96-8990-5977BD67E25E}"/>
              </a:ext>
            </a:extLst>
          </p:cNvPr>
          <p:cNvCxnSpPr/>
          <p:nvPr/>
        </p:nvCxnSpPr>
        <p:spPr>
          <a:xfrm>
            <a:off x="10702925" y="4362450"/>
            <a:ext cx="0" cy="24955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pic>
        <p:nvPicPr>
          <p:cNvPr id="16" name="그림 개체 틀 15">
            <a:extLst>
              <a:ext uri="{FF2B5EF4-FFF2-40B4-BE49-F238E27FC236}">
                <a16:creationId xmlns:a16="http://schemas.microsoft.com/office/drawing/2014/main" id="{1EAC392B-7B59-4CC1-AAEA-3F4D11D7E1A2}"/>
              </a:ext>
            </a:extLst>
          </p:cNvPr>
          <p:cNvPicPr>
            <a:picLocks noGrp="1" noChangeAspect="1"/>
          </p:cNvPicPr>
          <p:nvPr>
            <p:ph type="pic" sz="quarter" idx="13"/>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12830" r="12830"/>
          <a:stretch>
            <a:fillRect/>
          </a:stretch>
        </p:blipFill>
        <p:spPr>
          <a:xfrm>
            <a:off x="5413375" y="1530349"/>
            <a:ext cx="5518150" cy="2540001"/>
          </a:xfrm>
        </p:spPr>
      </p:pic>
      <p:pic>
        <p:nvPicPr>
          <p:cNvPr id="165151" name="Picture 287" descr="Twitter Logo transparent PNG - StickPNG">
            <a:extLst>
              <a:ext uri="{FF2B5EF4-FFF2-40B4-BE49-F238E27FC236}">
                <a16:creationId xmlns:a16="http://schemas.microsoft.com/office/drawing/2014/main" id="{8502810F-C136-3A49-8536-CD79C1F679E8}"/>
              </a:ext>
            </a:extLst>
          </p:cNvPr>
          <p:cNvPicPr>
            <a:picLocks noChangeAspect="1" noChangeArrowheads="1"/>
          </p:cNvPicPr>
          <p:nvPr/>
        </p:nvPicPr>
        <p:blipFill>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647031" y="2274930"/>
            <a:ext cx="1050839" cy="1050839"/>
          </a:xfrm>
          <a:prstGeom prst="rect">
            <a:avLst/>
          </a:prstGeom>
          <a:noFill/>
          <a:extLst>
            <a:ext uri="{909E8E84-426E-40DD-AFC4-6F175D3DCCD1}">
              <a14:hiddenFill xmlns:a14="http://schemas.microsoft.com/office/drawing/2010/main">
                <a:solidFill>
                  <a:srgbClr val="FFFFFF"/>
                </a:solidFill>
              </a14:hiddenFill>
            </a:ext>
          </a:extLst>
        </p:spPr>
      </p:pic>
      <p:sp>
        <p:nvSpPr>
          <p:cNvPr id="18" name="직사각형 17">
            <a:extLst>
              <a:ext uri="{FF2B5EF4-FFF2-40B4-BE49-F238E27FC236}">
                <a16:creationId xmlns:a16="http://schemas.microsoft.com/office/drawing/2014/main" id="{3302C952-EB76-4F89-9059-1C4A305A0893}"/>
              </a:ext>
            </a:extLst>
          </p:cNvPr>
          <p:cNvSpPr/>
          <p:nvPr/>
        </p:nvSpPr>
        <p:spPr>
          <a:xfrm>
            <a:off x="7542255" y="2274930"/>
            <a:ext cx="1260390" cy="1050839"/>
          </a:xfrm>
          <a:prstGeom prst="rect">
            <a:avLst/>
          </a:prstGeom>
          <a:gradFill>
            <a:gsLst>
              <a:gs pos="0">
                <a:srgbClr val="B34768">
                  <a:alpha val="40000"/>
                </a:srgbClr>
              </a:gs>
              <a:gs pos="100000">
                <a:srgbClr val="3E8E86">
                  <a:alpha val="50000"/>
                </a:srgbClr>
              </a:gs>
              <a:gs pos="50000">
                <a:srgbClr val="2B2D78">
                  <a:alpha val="40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415710774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89545B6-4421-2744-B6F4-1CAF4548C6B5}"/>
              </a:ext>
            </a:extLst>
          </p:cNvPr>
          <p:cNvGraphicFramePr>
            <a:graphicFrameLocks noChangeAspect="1"/>
          </p:cNvGraphicFramePr>
          <p:nvPr>
            <p:custDataLst>
              <p:tags r:id="rId2"/>
            </p:custDataLst>
            <p:extLst>
              <p:ext uri="{D42A27DB-BD31-4B8C-83A1-F6EECF244321}">
                <p14:modId xmlns:p14="http://schemas.microsoft.com/office/powerpoint/2010/main" val="429179969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05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Placeholder 5" descr="A picture containing night, dark, light&#10;&#10;Description automatically generated">
            <a:extLst>
              <a:ext uri="{FF2B5EF4-FFF2-40B4-BE49-F238E27FC236}">
                <a16:creationId xmlns:a16="http://schemas.microsoft.com/office/drawing/2014/main" id="{FC871948-9480-9C4D-9ACD-CC8A85E74425}"/>
              </a:ext>
            </a:extLst>
          </p:cNvPr>
          <p:cNvPicPr>
            <a:picLocks noGrp="1" noChangeAspect="1"/>
          </p:cNvPicPr>
          <p:nvPr>
            <p:ph type="pic" sz="quarter" idx="13"/>
          </p:nvPr>
        </p:nvPicPr>
        <p:blipFill>
          <a:blip r:embed="rId7">
            <a:duotone>
              <a:prstClr val="black"/>
              <a:schemeClr val="tx2">
                <a:tint val="45000"/>
                <a:satMod val="400000"/>
              </a:schemeClr>
            </a:duotone>
            <a:extLst>
              <a:ext uri="{28A0092B-C50C-407E-A947-70E740481C1C}">
                <a14:useLocalDpi xmlns:a14="http://schemas.microsoft.com/office/drawing/2010/main" val="0"/>
              </a:ext>
            </a:extLst>
          </a:blip>
          <a:srcRect l="8017" r="8017"/>
          <a:stretch>
            <a:fillRect/>
          </a:stretch>
        </p:blipFill>
        <p:spPr>
          <a:xfrm>
            <a:off x="0" y="0"/>
            <a:ext cx="8621173" cy="6858000"/>
          </a:xfrm>
        </p:spPr>
      </p:pic>
      <p:sp>
        <p:nvSpPr>
          <p:cNvPr id="15" name="직사각형 14"/>
          <p:cNvSpPr/>
          <p:nvPr/>
        </p:nvSpPr>
        <p:spPr>
          <a:xfrm>
            <a:off x="0" y="0"/>
            <a:ext cx="8621173" cy="6858000"/>
          </a:xfrm>
          <a:prstGeom prst="rect">
            <a:avLst/>
          </a:pr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TextBox 6"/>
          <p:cNvSpPr txBox="1"/>
          <p:nvPr/>
        </p:nvSpPr>
        <p:spPr>
          <a:xfrm>
            <a:off x="3023943" y="2875002"/>
            <a:ext cx="9168057" cy="1107996"/>
          </a:xfrm>
          <a:prstGeom prst="rect">
            <a:avLst/>
          </a:prstGeom>
          <a:noFill/>
        </p:spPr>
        <p:txBody>
          <a:bodyPr wrap="square" rtlCol="0">
            <a:spAutoFit/>
          </a:bodyPr>
          <a:lstStyle/>
          <a:p>
            <a:pPr lvl="0"/>
            <a:r>
              <a:rPr lang="en-US" altLang="ko-KR" sz="6600" spc="300" dirty="0">
                <a:ln>
                  <a:solidFill>
                    <a:srgbClr val="3E8E86">
                      <a:alpha val="0"/>
                    </a:srgbClr>
                  </a:solidFill>
                </a:ln>
                <a:solidFill>
                  <a:prstClr val="white"/>
                </a:solidFill>
                <a:latin typeface="Montserrat Medium"/>
                <a:ea typeface="맑은 고딕" panose="020B0503020000020004" pitchFamily="50" charset="-127"/>
                <a:cs typeface="Calibri" panose="020F0502020204030204" pitchFamily="34" charset="0"/>
              </a:rPr>
              <a:t>INTELLIGENT TECH</a:t>
            </a:r>
          </a:p>
        </p:txBody>
      </p:sp>
    </p:spTree>
    <p:extLst>
      <p:ext uri="{BB962C8B-B14F-4D97-AF65-F5344CB8AC3E}">
        <p14:creationId xmlns:p14="http://schemas.microsoft.com/office/powerpoint/2010/main" val="350546316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9C6ED8DA-D8BD-4541-AAA9-DAB23482A503}"/>
              </a:ext>
            </a:extLst>
          </p:cNvPr>
          <p:cNvGraphicFramePr>
            <a:graphicFrameLocks noChangeAspect="1"/>
          </p:cNvGraphicFramePr>
          <p:nvPr>
            <p:custDataLst>
              <p:tags r:id="rId2"/>
            </p:custDataLst>
            <p:extLst>
              <p:ext uri="{D42A27DB-BD31-4B8C-83A1-F6EECF244321}">
                <p14:modId xmlns:p14="http://schemas.microsoft.com/office/powerpoint/2010/main" val="404178730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502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6" name="Picture 5" descr="A picture containing text, indoor&#10;&#10;Description automatically generated">
            <a:extLst>
              <a:ext uri="{FF2B5EF4-FFF2-40B4-BE49-F238E27FC236}">
                <a16:creationId xmlns:a16="http://schemas.microsoft.com/office/drawing/2014/main" id="{456B7415-B529-DA4F-ADBD-C70E42877F75}"/>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l="21217" r="22253"/>
          <a:stretch/>
        </p:blipFill>
        <p:spPr>
          <a:xfrm>
            <a:off x="0" y="0"/>
            <a:ext cx="5354156" cy="6858000"/>
          </a:xfrm>
          <a:prstGeom prst="rect">
            <a:avLst/>
          </a:prstGeom>
        </p:spPr>
      </p:pic>
      <p:sp>
        <p:nvSpPr>
          <p:cNvPr id="18" name="직사각형 17"/>
          <p:cNvSpPr/>
          <p:nvPr/>
        </p:nvSpPr>
        <p:spPr>
          <a:xfrm>
            <a:off x="985837" y="1685924"/>
            <a:ext cx="10103984" cy="3533776"/>
          </a:xfrm>
          <a:prstGeom prst="rect">
            <a:avLst/>
          </a:prstGeom>
          <a:gradFill>
            <a:gsLst>
              <a:gs pos="0">
                <a:srgbClr val="B34768">
                  <a:alpha val="35000"/>
                </a:srgbClr>
              </a:gs>
              <a:gs pos="100000">
                <a:srgbClr val="3E8E86">
                  <a:alpha val="4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 name="TextBox 3"/>
          <p:cNvSpPr txBox="1"/>
          <p:nvPr/>
        </p:nvSpPr>
        <p:spPr>
          <a:xfrm>
            <a:off x="6037829" y="3191202"/>
            <a:ext cx="3096723" cy="523220"/>
          </a:xfrm>
          <a:prstGeom prst="rect">
            <a:avLst/>
          </a:prstGeom>
          <a:noFill/>
        </p:spPr>
        <p:txBody>
          <a:bodyPr wrap="square" rtlCol="0">
            <a:spAutoFit/>
          </a:bodyPr>
          <a:lstStyle/>
          <a:p>
            <a:pPr lvl="0"/>
            <a:r>
              <a:rPr lang="en-US" altLang="ko-KR" sz="2800" spc="300" dirty="0">
                <a:ln>
                  <a:solidFill>
                    <a:srgbClr val="3E8E86">
                      <a:alpha val="0"/>
                    </a:srgbClr>
                  </a:solidFill>
                </a:ln>
                <a:solidFill>
                  <a:prstClr val="white"/>
                </a:solidFill>
                <a:latin typeface="Montserrat Medium"/>
                <a:ea typeface="맑은 고딕" panose="020B0503020000020004" pitchFamily="50" charset="-127"/>
                <a:cs typeface="Calibri" panose="020F0502020204030204" pitchFamily="34" charset="0"/>
              </a:rPr>
              <a:t>BLOCKCHAIN</a:t>
            </a:r>
          </a:p>
        </p:txBody>
      </p:sp>
      <p:cxnSp>
        <p:nvCxnSpPr>
          <p:cNvPr id="9" name="직선 연결선 8"/>
          <p:cNvCxnSpPr>
            <a:cxnSpLocks/>
          </p:cNvCxnSpPr>
          <p:nvPr/>
        </p:nvCxnSpPr>
        <p:spPr>
          <a:xfrm>
            <a:off x="6125316" y="0"/>
            <a:ext cx="0" cy="24955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7" name="직선 연결선 16"/>
          <p:cNvCxnSpPr>
            <a:cxnSpLocks/>
          </p:cNvCxnSpPr>
          <p:nvPr/>
        </p:nvCxnSpPr>
        <p:spPr>
          <a:xfrm>
            <a:off x="6125316" y="4362450"/>
            <a:ext cx="0" cy="249555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724602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D00A18-17CF-4148-B394-8AF1DCC84E70}"/>
              </a:ext>
            </a:extLst>
          </p:cNvPr>
          <p:cNvGraphicFramePr>
            <a:graphicFrameLocks noChangeAspect="1"/>
          </p:cNvGraphicFramePr>
          <p:nvPr>
            <p:custDataLst>
              <p:tags r:id="rId2"/>
            </p:custDataLst>
            <p:extLst>
              <p:ext uri="{D42A27DB-BD31-4B8C-83A1-F6EECF244321}">
                <p14:modId xmlns:p14="http://schemas.microsoft.com/office/powerpoint/2010/main" val="13078078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99261"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1D00A18-17CF-4148-B394-8AF1DCC84E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FD84FACF-E225-6741-B589-42ADF33D27C5}"/>
              </a:ext>
            </a:extLst>
          </p:cNvPr>
          <p:cNvSpPr txBox="1"/>
          <p:nvPr/>
        </p:nvSpPr>
        <p:spPr>
          <a:xfrm>
            <a:off x="8377377" y="2952204"/>
            <a:ext cx="3582013" cy="1085938"/>
          </a:xfrm>
          <a:prstGeom prst="rect">
            <a:avLst/>
          </a:prstGeom>
          <a:noFill/>
        </p:spPr>
        <p:txBody>
          <a:bodyPr wrap="square" rtlCol="0">
            <a:spAutoFit/>
          </a:bodyPr>
          <a:lstStyle/>
          <a:p>
            <a:pPr>
              <a:lnSpc>
                <a:spcPct val="120000"/>
              </a:lnSpc>
            </a:pPr>
            <a:r>
              <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P2P</a:t>
            </a:r>
          </a:p>
          <a:p>
            <a:pPr>
              <a:lnSpc>
                <a:spcPct val="120000"/>
              </a:lnSpc>
            </a:pPr>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PEER-TO-PEER</a:t>
            </a:r>
          </a:p>
        </p:txBody>
      </p:sp>
      <p:pic>
        <p:nvPicPr>
          <p:cNvPr id="299014" name="Picture 6">
            <a:extLst>
              <a:ext uri="{FF2B5EF4-FFF2-40B4-BE49-F238E27FC236}">
                <a16:creationId xmlns:a16="http://schemas.microsoft.com/office/drawing/2014/main" id="{12DB832E-2B91-A241-946D-53FFA0F7DF54}"/>
              </a:ext>
            </a:extLst>
          </p:cNvPr>
          <p:cNvPicPr>
            <a:picLocks noChangeAspect="1" noChangeArrowheads="1"/>
          </p:cNvPicPr>
          <p:nvPr/>
        </p:nvPicPr>
        <p:blipFill rotWithShape="1">
          <a:blip r:embed="rId7">
            <a:duotone>
              <a:prstClr val="black"/>
              <a:schemeClr val="accent6">
                <a:tint val="45000"/>
                <a:satMod val="400000"/>
              </a:schemeClr>
            </a:duotone>
            <a:extLst>
              <a:ext uri="{28A0092B-C50C-407E-A947-70E740481C1C}">
                <a14:useLocalDpi xmlns:a14="http://schemas.microsoft.com/office/drawing/2010/main" val="0"/>
              </a:ext>
            </a:extLst>
          </a:blip>
          <a:srcRect t="43859" r="33704"/>
          <a:stretch/>
        </p:blipFill>
        <p:spPr bwMode="auto">
          <a:xfrm>
            <a:off x="0" y="1503947"/>
            <a:ext cx="7823924" cy="4416917"/>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0" y="1503947"/>
            <a:ext cx="2203860" cy="4416917"/>
          </a:xfrm>
          <a:prstGeom prst="rect">
            <a:avLst/>
          </a:prstGeom>
          <a:gradFill>
            <a:gsLst>
              <a:gs pos="0">
                <a:srgbClr val="B34768">
                  <a:alpha val="35000"/>
                </a:srgbClr>
              </a:gs>
              <a:gs pos="100000">
                <a:srgbClr val="3E8E86">
                  <a:alpha val="50000"/>
                </a:srgbClr>
              </a:gs>
              <a:gs pos="50000">
                <a:srgbClr val="2B2D78">
                  <a:alpha val="4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Oval 11">
            <a:extLst>
              <a:ext uri="{FF2B5EF4-FFF2-40B4-BE49-F238E27FC236}">
                <a16:creationId xmlns:a16="http://schemas.microsoft.com/office/drawing/2014/main" id="{C08B3294-FED8-3B41-B30B-906DB97EED41}"/>
              </a:ext>
            </a:extLst>
          </p:cNvPr>
          <p:cNvSpPr/>
          <p:nvPr/>
        </p:nvSpPr>
        <p:spPr>
          <a:xfrm>
            <a:off x="3062514" y="3650343"/>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1</a:t>
            </a:r>
          </a:p>
        </p:txBody>
      </p:sp>
      <p:sp>
        <p:nvSpPr>
          <p:cNvPr id="15" name="Oval 14">
            <a:extLst>
              <a:ext uri="{FF2B5EF4-FFF2-40B4-BE49-F238E27FC236}">
                <a16:creationId xmlns:a16="http://schemas.microsoft.com/office/drawing/2014/main" id="{D5C8DD0E-3A65-EB40-B304-F614FB6369C9}"/>
              </a:ext>
            </a:extLst>
          </p:cNvPr>
          <p:cNvSpPr/>
          <p:nvPr/>
        </p:nvSpPr>
        <p:spPr>
          <a:xfrm>
            <a:off x="3809866" y="3518505"/>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2</a:t>
            </a:r>
          </a:p>
        </p:txBody>
      </p:sp>
      <p:sp>
        <p:nvSpPr>
          <p:cNvPr id="16" name="Oval 15">
            <a:extLst>
              <a:ext uri="{FF2B5EF4-FFF2-40B4-BE49-F238E27FC236}">
                <a16:creationId xmlns:a16="http://schemas.microsoft.com/office/drawing/2014/main" id="{C13D7A9E-948E-334A-B608-D3EB928EABB3}"/>
              </a:ext>
            </a:extLst>
          </p:cNvPr>
          <p:cNvSpPr/>
          <p:nvPr/>
        </p:nvSpPr>
        <p:spPr>
          <a:xfrm>
            <a:off x="4527784" y="3453192"/>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3</a:t>
            </a:r>
          </a:p>
        </p:txBody>
      </p:sp>
      <p:sp>
        <p:nvSpPr>
          <p:cNvPr id="17" name="Oval 16">
            <a:extLst>
              <a:ext uri="{FF2B5EF4-FFF2-40B4-BE49-F238E27FC236}">
                <a16:creationId xmlns:a16="http://schemas.microsoft.com/office/drawing/2014/main" id="{CFBAE659-167E-F745-9A38-25E0BB38DB69}"/>
              </a:ext>
            </a:extLst>
          </p:cNvPr>
          <p:cNvSpPr/>
          <p:nvPr/>
        </p:nvSpPr>
        <p:spPr>
          <a:xfrm>
            <a:off x="5359907" y="3537025"/>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4</a:t>
            </a:r>
          </a:p>
        </p:txBody>
      </p:sp>
      <p:sp>
        <p:nvSpPr>
          <p:cNvPr id="18" name="Oval 17">
            <a:extLst>
              <a:ext uri="{FF2B5EF4-FFF2-40B4-BE49-F238E27FC236}">
                <a16:creationId xmlns:a16="http://schemas.microsoft.com/office/drawing/2014/main" id="{791AE268-D636-EC48-994D-7EF323FA07D3}"/>
              </a:ext>
            </a:extLst>
          </p:cNvPr>
          <p:cNvSpPr/>
          <p:nvPr/>
        </p:nvSpPr>
        <p:spPr>
          <a:xfrm>
            <a:off x="6404140" y="3445126"/>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5</a:t>
            </a:r>
          </a:p>
        </p:txBody>
      </p:sp>
      <p:sp>
        <p:nvSpPr>
          <p:cNvPr id="19" name="Oval 18">
            <a:extLst>
              <a:ext uri="{FF2B5EF4-FFF2-40B4-BE49-F238E27FC236}">
                <a16:creationId xmlns:a16="http://schemas.microsoft.com/office/drawing/2014/main" id="{240CA160-FF8E-874A-8524-AD84BC2CE5DF}"/>
              </a:ext>
            </a:extLst>
          </p:cNvPr>
          <p:cNvSpPr/>
          <p:nvPr/>
        </p:nvSpPr>
        <p:spPr>
          <a:xfrm>
            <a:off x="7042363" y="3537025"/>
            <a:ext cx="387799" cy="387799"/>
          </a:xfrm>
          <a:prstGeom prst="ellipse">
            <a:avLst/>
          </a:prstGeom>
          <a:no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6</a:t>
            </a:r>
          </a:p>
        </p:txBody>
      </p:sp>
    </p:spTree>
    <p:extLst>
      <p:ext uri="{BB962C8B-B14F-4D97-AF65-F5344CB8AC3E}">
        <p14:creationId xmlns:p14="http://schemas.microsoft.com/office/powerpoint/2010/main" val="1688243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200"/>
                                        <p:tgtEl>
                                          <p:spTgt spid="12"/>
                                        </p:tgtEl>
                                      </p:cBhvr>
                                    </p:animEffect>
                                  </p:childTnLst>
                                </p:cTn>
                              </p:par>
                            </p:childTnLst>
                          </p:cTn>
                        </p:par>
                        <p:par>
                          <p:cTn id="8" fill="hold">
                            <p:stCondLst>
                              <p:cond delay="2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200"/>
                                        <p:tgtEl>
                                          <p:spTgt spid="15"/>
                                        </p:tgtEl>
                                      </p:cBhvr>
                                    </p:animEffect>
                                  </p:childTnLst>
                                </p:cTn>
                              </p:par>
                            </p:childTnLst>
                          </p:cTn>
                        </p:par>
                        <p:par>
                          <p:cTn id="12" fill="hold">
                            <p:stCondLst>
                              <p:cond delay="400"/>
                            </p:stCondLst>
                            <p:childTnLst>
                              <p:par>
                                <p:cTn id="13" presetID="10" presetClass="entr" presetSubtype="0"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fade">
                                      <p:cBhvr>
                                        <p:cTn id="15" dur="200"/>
                                        <p:tgtEl>
                                          <p:spTgt spid="16"/>
                                        </p:tgtEl>
                                      </p:cBhvr>
                                    </p:animEffect>
                                  </p:childTnLst>
                                </p:cTn>
                              </p:par>
                            </p:childTnLst>
                          </p:cTn>
                        </p:par>
                        <p:par>
                          <p:cTn id="16" fill="hold">
                            <p:stCondLst>
                              <p:cond delay="600"/>
                            </p:stCondLst>
                            <p:childTnLst>
                              <p:par>
                                <p:cTn id="17" presetID="10" presetClass="entr" presetSubtype="0"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200"/>
                                        <p:tgtEl>
                                          <p:spTgt spid="17"/>
                                        </p:tgtEl>
                                      </p:cBhvr>
                                    </p:animEffect>
                                  </p:childTnLst>
                                </p:cTn>
                              </p:par>
                            </p:childTnLst>
                          </p:cTn>
                        </p:par>
                        <p:par>
                          <p:cTn id="20" fill="hold">
                            <p:stCondLst>
                              <p:cond delay="800"/>
                            </p:stCondLst>
                            <p:childTnLst>
                              <p:par>
                                <p:cTn id="21" presetID="10" presetClass="entr" presetSubtype="0" fill="hold" grpId="0" nodeType="after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200"/>
                                        <p:tgtEl>
                                          <p:spTgt spid="18"/>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2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5" grpId="0" animBg="1"/>
      <p:bldP spid="16" grpId="0" animBg="1"/>
      <p:bldP spid="17" grpId="0" animBg="1"/>
      <p:bldP spid="18" grpId="0" animBg="1"/>
      <p:bldP spid="19" grpId="0" animBg="1"/>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D00A18-17CF-4148-B394-8AF1DCC84E70}"/>
              </a:ext>
            </a:extLst>
          </p:cNvPr>
          <p:cNvGraphicFramePr>
            <a:graphicFrameLocks noChangeAspect="1"/>
          </p:cNvGraphicFramePr>
          <p:nvPr>
            <p:custDataLst>
              <p:tags r:id="rId2"/>
            </p:custDataLst>
            <p:extLst>
              <p:ext uri="{D42A27DB-BD31-4B8C-83A1-F6EECF244321}">
                <p14:modId xmlns:p14="http://schemas.microsoft.com/office/powerpoint/2010/main" val="38939149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1306"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1D00A18-17CF-4148-B394-8AF1DCC84E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01061" name="Picture 5" descr="aerial photo of city skylines">
            <a:extLst>
              <a:ext uri="{FF2B5EF4-FFF2-40B4-BE49-F238E27FC236}">
                <a16:creationId xmlns:a16="http://schemas.microsoft.com/office/drawing/2014/main" id="{062B1B39-1DDA-DA4B-9351-E413BF335D94}"/>
              </a:ext>
            </a:extLst>
          </p:cNvPr>
          <p:cNvPicPr>
            <a:picLocks noChangeAspect="1" noChangeArrowheads="1"/>
          </p:cNvPicPr>
          <p:nvPr/>
        </p:nvPicPr>
        <p:blipFill rotWithShape="1">
          <a:blip r:embed="rId7">
            <a:duotone>
              <a:prstClr val="black"/>
              <a:schemeClr val="accent6">
                <a:tint val="45000"/>
                <a:satMod val="400000"/>
              </a:schemeClr>
            </a:duotone>
            <a:extLst>
              <a:ext uri="{28A0092B-C50C-407E-A947-70E740481C1C}">
                <a14:useLocalDpi xmlns:a14="http://schemas.microsoft.com/office/drawing/2010/main" val="0"/>
              </a:ext>
            </a:extLst>
          </a:blip>
          <a:srcRect t="24990"/>
          <a:stretch/>
        </p:blipFill>
        <p:spPr bwMode="auto">
          <a:xfrm>
            <a:off x="1" y="-894"/>
            <a:ext cx="12192000" cy="6858894"/>
          </a:xfrm>
          <a:prstGeom prst="rect">
            <a:avLst/>
          </a:prstGeom>
          <a:noFill/>
          <a:extLst>
            <a:ext uri="{909E8E84-426E-40DD-AFC4-6F175D3DCCD1}">
              <a14:hiddenFill xmlns:a14="http://schemas.microsoft.com/office/drawing/2010/main">
                <a:solidFill>
                  <a:srgbClr val="FFFFFF"/>
                </a:solidFill>
              </a14:hiddenFill>
            </a:ext>
          </a:extLst>
        </p:spPr>
      </p:pic>
      <p:pic>
        <p:nvPicPr>
          <p:cNvPr id="301059" name="Picture 3" descr="people sitting on stand">
            <a:extLst>
              <a:ext uri="{FF2B5EF4-FFF2-40B4-BE49-F238E27FC236}">
                <a16:creationId xmlns:a16="http://schemas.microsoft.com/office/drawing/2014/main" id="{D4A420B0-8FF4-EC44-BD8C-3E5919A2D6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85713" y="616052"/>
            <a:ext cx="8420577" cy="5625003"/>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1885713" y="616052"/>
            <a:ext cx="8420577" cy="5625003"/>
          </a:xfrm>
          <a:prstGeom prst="rect">
            <a:avLst/>
          </a:prstGeom>
          <a:gradFill>
            <a:gsLst>
              <a:gs pos="0">
                <a:srgbClr val="B34768">
                  <a:alpha val="35000"/>
                </a:srgbClr>
              </a:gs>
              <a:gs pos="100000">
                <a:srgbClr val="3E8E86">
                  <a:alpha val="50000"/>
                </a:srgbClr>
              </a:gs>
              <a:gs pos="50000">
                <a:srgbClr val="2B2D78">
                  <a:alpha val="4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87972092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D00A18-17CF-4148-B394-8AF1DCC84E70}"/>
              </a:ext>
            </a:extLst>
          </p:cNvPr>
          <p:cNvGraphicFramePr>
            <a:graphicFrameLocks noChangeAspect="1"/>
          </p:cNvGraphicFramePr>
          <p:nvPr>
            <p:custDataLst>
              <p:tags r:id="rId2"/>
            </p:custDataLst>
            <p:extLst>
              <p:ext uri="{D42A27DB-BD31-4B8C-83A1-F6EECF244321}">
                <p14:modId xmlns:p14="http://schemas.microsoft.com/office/powerpoint/2010/main" val="19094641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485"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D1D00A18-17CF-4148-B394-8AF1DCC84E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01061" name="Picture 5" descr="aerial photo of city skylines">
            <a:extLst>
              <a:ext uri="{FF2B5EF4-FFF2-40B4-BE49-F238E27FC236}">
                <a16:creationId xmlns:a16="http://schemas.microsoft.com/office/drawing/2014/main" id="{062B1B39-1DDA-DA4B-9351-E413BF335D94}"/>
              </a:ext>
            </a:extLst>
          </p:cNvPr>
          <p:cNvPicPr>
            <a:picLocks noChangeAspect="1" noChangeArrowheads="1"/>
          </p:cNvPicPr>
          <p:nvPr/>
        </p:nvPicPr>
        <p:blipFill rotWithShape="1">
          <a:blip r:embed="rId7">
            <a:duotone>
              <a:prstClr val="black"/>
              <a:schemeClr val="accent6">
                <a:tint val="45000"/>
                <a:satMod val="400000"/>
              </a:schemeClr>
            </a:duotone>
            <a:extLst>
              <a:ext uri="{28A0092B-C50C-407E-A947-70E740481C1C}">
                <a14:useLocalDpi xmlns:a14="http://schemas.microsoft.com/office/drawing/2010/main" val="0"/>
              </a:ext>
            </a:extLst>
          </a:blip>
          <a:srcRect t="24990"/>
          <a:stretch/>
        </p:blipFill>
        <p:spPr bwMode="auto">
          <a:xfrm>
            <a:off x="435351" y="2308860"/>
            <a:ext cx="4794895" cy="2697480"/>
          </a:xfrm>
          <a:prstGeom prst="rect">
            <a:avLst/>
          </a:prstGeom>
          <a:noFill/>
          <a:extLst>
            <a:ext uri="{909E8E84-426E-40DD-AFC4-6F175D3DCCD1}">
              <a14:hiddenFill xmlns:a14="http://schemas.microsoft.com/office/drawing/2010/main">
                <a:solidFill>
                  <a:srgbClr val="FFFFFF"/>
                </a:solidFill>
              </a14:hiddenFill>
            </a:ext>
          </a:extLst>
        </p:spPr>
      </p:pic>
      <p:pic>
        <p:nvPicPr>
          <p:cNvPr id="301059" name="Picture 3" descr="people sitting on stand">
            <a:extLst>
              <a:ext uri="{FF2B5EF4-FFF2-40B4-BE49-F238E27FC236}">
                <a16:creationId xmlns:a16="http://schemas.microsoft.com/office/drawing/2014/main" id="{D4A420B0-8FF4-EC44-BD8C-3E5919A2D6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77279" y="2551494"/>
            <a:ext cx="3311662" cy="2212213"/>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1177279" y="2551494"/>
            <a:ext cx="3311662" cy="2212213"/>
          </a:xfrm>
          <a:prstGeom prst="rect">
            <a:avLst/>
          </a:prstGeom>
          <a:gradFill>
            <a:gsLst>
              <a:gs pos="0">
                <a:srgbClr val="B34768">
                  <a:alpha val="35000"/>
                </a:srgbClr>
              </a:gs>
              <a:gs pos="100000">
                <a:srgbClr val="3E8E86">
                  <a:alpha val="50000"/>
                </a:srgbClr>
              </a:gs>
              <a:gs pos="50000">
                <a:srgbClr val="2B2D78">
                  <a:alpha val="4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20" name="Picture 6">
            <a:extLst>
              <a:ext uri="{FF2B5EF4-FFF2-40B4-BE49-F238E27FC236}">
                <a16:creationId xmlns:a16="http://schemas.microsoft.com/office/drawing/2014/main" id="{D51D02A2-0796-7942-940B-060FFFB71ABC}"/>
              </a:ext>
            </a:extLst>
          </p:cNvPr>
          <p:cNvPicPr>
            <a:picLocks noChangeAspect="1" noChangeArrowheads="1"/>
          </p:cNvPicPr>
          <p:nvPr/>
        </p:nvPicPr>
        <p:blipFill rotWithShape="1">
          <a:blip r:embed="rId9">
            <a:duotone>
              <a:prstClr val="black"/>
              <a:schemeClr val="accent6">
                <a:tint val="45000"/>
                <a:satMod val="400000"/>
              </a:schemeClr>
            </a:duotone>
            <a:extLst>
              <a:ext uri="{28A0092B-C50C-407E-A947-70E740481C1C}">
                <a14:useLocalDpi xmlns:a14="http://schemas.microsoft.com/office/drawing/2010/main" val="0"/>
              </a:ext>
            </a:extLst>
          </a:blip>
          <a:srcRect t="43859" r="33704"/>
          <a:stretch/>
        </p:blipFill>
        <p:spPr bwMode="auto">
          <a:xfrm>
            <a:off x="6978457" y="2308860"/>
            <a:ext cx="4778192" cy="2697480"/>
          </a:xfrm>
          <a:prstGeom prst="rect">
            <a:avLst/>
          </a:prstGeom>
          <a:noFill/>
          <a:extLst>
            <a:ext uri="{909E8E84-426E-40DD-AFC4-6F175D3DCCD1}">
              <a14:hiddenFill xmlns:a14="http://schemas.microsoft.com/office/drawing/2010/main">
                <a:solidFill>
                  <a:srgbClr val="FFFFFF"/>
                </a:solidFill>
              </a14:hiddenFill>
            </a:ext>
          </a:extLst>
        </p:spPr>
      </p:pic>
      <p:sp>
        <p:nvSpPr>
          <p:cNvPr id="21" name="직사각형 3">
            <a:extLst>
              <a:ext uri="{FF2B5EF4-FFF2-40B4-BE49-F238E27FC236}">
                <a16:creationId xmlns:a16="http://schemas.microsoft.com/office/drawing/2014/main" id="{DDAE412F-D5AB-784B-8D45-03FD551B957E}"/>
              </a:ext>
            </a:extLst>
          </p:cNvPr>
          <p:cNvSpPr/>
          <p:nvPr/>
        </p:nvSpPr>
        <p:spPr>
          <a:xfrm>
            <a:off x="6978457" y="2308860"/>
            <a:ext cx="1345932" cy="2697480"/>
          </a:xfrm>
          <a:prstGeom prst="rect">
            <a:avLst/>
          </a:prstGeom>
          <a:gradFill>
            <a:gsLst>
              <a:gs pos="0">
                <a:srgbClr val="B34768">
                  <a:alpha val="35000"/>
                </a:srgbClr>
              </a:gs>
              <a:gs pos="100000">
                <a:srgbClr val="3E8E86">
                  <a:alpha val="50000"/>
                </a:srgbClr>
              </a:gs>
              <a:gs pos="50000">
                <a:srgbClr val="2B2D78">
                  <a:alpha val="4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Right Arrow 4">
            <a:extLst>
              <a:ext uri="{FF2B5EF4-FFF2-40B4-BE49-F238E27FC236}">
                <a16:creationId xmlns:a16="http://schemas.microsoft.com/office/drawing/2014/main" id="{9BABA8BA-5640-C447-936F-B39C7EB19152}"/>
              </a:ext>
            </a:extLst>
          </p:cNvPr>
          <p:cNvSpPr/>
          <p:nvPr/>
        </p:nvSpPr>
        <p:spPr>
          <a:xfrm rot="10800000">
            <a:off x="5629072" y="3429000"/>
            <a:ext cx="950558" cy="662940"/>
          </a:xfrm>
          <a:prstGeom prst="rightArrow">
            <a:avLst/>
          </a:prstGeom>
          <a:no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4671745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860E58-57B9-9A49-A93F-84B8BFE4BA60}"/>
              </a:ext>
            </a:extLst>
          </p:cNvPr>
          <p:cNvGraphicFramePr>
            <a:graphicFrameLocks noChangeAspect="1"/>
          </p:cNvGraphicFramePr>
          <p:nvPr>
            <p:custDataLst>
              <p:tags r:id="rId2"/>
            </p:custDataLst>
            <p:extLst>
              <p:ext uri="{D42A27DB-BD31-4B8C-83A1-F6EECF244321}">
                <p14:modId xmlns:p14="http://schemas.microsoft.com/office/powerpoint/2010/main" val="9477168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9517"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4A365C8E-446D-4E16-9A6E-DB1AB3C9AD80}"/>
              </a:ext>
            </a:extLst>
          </p:cNvPr>
          <p:cNvSpPr>
            <a:spLocks noGrp="1"/>
          </p:cNvSpPr>
          <p:nvPr>
            <p:ph type="title"/>
          </p:nvPr>
        </p:nvSpPr>
        <p:spPr/>
        <p:txBody>
          <a:bodyPr vert="horz"/>
          <a:lstStyle/>
          <a:p>
            <a:r>
              <a:rPr lang="en-US" altLang="ko-KR" dirty="0"/>
              <a:t>CHAIN</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159" name="자유형: 도형 158">
            <a:extLst>
              <a:ext uri="{FF2B5EF4-FFF2-40B4-BE49-F238E27FC236}">
                <a16:creationId xmlns:a16="http://schemas.microsoft.com/office/drawing/2014/main" id="{9430ADB8-47E2-409A-BDFC-9D25E5A88456}"/>
              </a:ext>
            </a:extLst>
          </p:cNvPr>
          <p:cNvSpPr/>
          <p:nvPr/>
        </p:nvSpPr>
        <p:spPr>
          <a:xfrm>
            <a:off x="2779424" y="5295994"/>
            <a:ext cx="6638576" cy="2681228"/>
          </a:xfrm>
          <a:custGeom>
            <a:avLst/>
            <a:gdLst>
              <a:gd name="connsiteX0" fmla="*/ 3319288 w 6638576"/>
              <a:gd name="connsiteY0" fmla="*/ 0 h 2681228"/>
              <a:gd name="connsiteX1" fmla="*/ 6596492 w 6638576"/>
              <a:gd name="connsiteY1" fmla="*/ 2525965 h 2681228"/>
              <a:gd name="connsiteX2" fmla="*/ 6638576 w 6638576"/>
              <a:gd name="connsiteY2" fmla="*/ 2681228 h 2681228"/>
              <a:gd name="connsiteX3" fmla="*/ 0 w 6638576"/>
              <a:gd name="connsiteY3" fmla="*/ 2681228 h 2681228"/>
              <a:gd name="connsiteX4" fmla="*/ 42085 w 6638576"/>
              <a:gd name="connsiteY4" fmla="*/ 2525965 h 2681228"/>
              <a:gd name="connsiteX5" fmla="*/ 3319288 w 6638576"/>
              <a:gd name="connsiteY5" fmla="*/ 0 h 268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38576" h="2681228">
                <a:moveTo>
                  <a:pt x="3319288" y="0"/>
                </a:moveTo>
                <a:cubicBezTo>
                  <a:pt x="4859099" y="0"/>
                  <a:pt x="6162027" y="1062549"/>
                  <a:pt x="6596492" y="2525965"/>
                </a:cubicBezTo>
                <a:lnTo>
                  <a:pt x="6638576" y="2681228"/>
                </a:lnTo>
                <a:lnTo>
                  <a:pt x="0" y="2681228"/>
                </a:lnTo>
                <a:lnTo>
                  <a:pt x="42085" y="2525965"/>
                </a:lnTo>
                <a:cubicBezTo>
                  <a:pt x="476548" y="1062549"/>
                  <a:pt x="1779477" y="0"/>
                  <a:pt x="3319288"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7" name="자유형: 도형 156">
            <a:extLst>
              <a:ext uri="{FF2B5EF4-FFF2-40B4-BE49-F238E27FC236}">
                <a16:creationId xmlns:a16="http://schemas.microsoft.com/office/drawing/2014/main" id="{3FA3071E-CFCD-4200-8C7B-BAD5D26A60A1}"/>
              </a:ext>
            </a:extLst>
          </p:cNvPr>
          <p:cNvSpPr/>
          <p:nvPr/>
        </p:nvSpPr>
        <p:spPr>
          <a:xfrm>
            <a:off x="3017448" y="5533707"/>
            <a:ext cx="6162525" cy="2443515"/>
          </a:xfrm>
          <a:custGeom>
            <a:avLst/>
            <a:gdLst>
              <a:gd name="connsiteX0" fmla="*/ 3081263 w 6162525"/>
              <a:gd name="connsiteY0" fmla="*/ 0 h 2443515"/>
              <a:gd name="connsiteX1" fmla="*/ 6141768 w 6162525"/>
              <a:gd name="connsiteY1" fmla="*/ 2358942 h 2443515"/>
              <a:gd name="connsiteX2" fmla="*/ 6162525 w 6162525"/>
              <a:gd name="connsiteY2" fmla="*/ 2443515 h 2443515"/>
              <a:gd name="connsiteX3" fmla="*/ 0 w 6162525"/>
              <a:gd name="connsiteY3" fmla="*/ 2443515 h 2443515"/>
              <a:gd name="connsiteX4" fmla="*/ 20757 w 6162525"/>
              <a:gd name="connsiteY4" fmla="*/ 2358942 h 2443515"/>
              <a:gd name="connsiteX5" fmla="*/ 3081263 w 6162525"/>
              <a:gd name="connsiteY5" fmla="*/ 0 h 244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2525" h="2443515">
                <a:moveTo>
                  <a:pt x="3081263" y="0"/>
                </a:moveTo>
                <a:cubicBezTo>
                  <a:pt x="4519257" y="0"/>
                  <a:pt x="5736032" y="992291"/>
                  <a:pt x="6141768" y="2358942"/>
                </a:cubicBezTo>
                <a:lnTo>
                  <a:pt x="6162525" y="2443515"/>
                </a:lnTo>
                <a:lnTo>
                  <a:pt x="0" y="2443515"/>
                </a:lnTo>
                <a:lnTo>
                  <a:pt x="20757" y="2358942"/>
                </a:lnTo>
                <a:cubicBezTo>
                  <a:pt x="426494" y="992291"/>
                  <a:pt x="1643269" y="0"/>
                  <a:pt x="3081263"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5" name="자유형: 도형 154">
            <a:extLst>
              <a:ext uri="{FF2B5EF4-FFF2-40B4-BE49-F238E27FC236}">
                <a16:creationId xmlns:a16="http://schemas.microsoft.com/office/drawing/2014/main" id="{E479F9E4-D999-4B87-9D4B-8A67292B63FF}"/>
              </a:ext>
            </a:extLst>
          </p:cNvPr>
          <p:cNvSpPr/>
          <p:nvPr/>
        </p:nvSpPr>
        <p:spPr>
          <a:xfrm>
            <a:off x="3330264" y="5850407"/>
            <a:ext cx="5536895" cy="2126815"/>
          </a:xfrm>
          <a:custGeom>
            <a:avLst/>
            <a:gdLst>
              <a:gd name="connsiteX0" fmla="*/ 2768447 w 5536895"/>
              <a:gd name="connsiteY0" fmla="*/ 0 h 2126815"/>
              <a:gd name="connsiteX1" fmla="*/ 5442656 w 5536895"/>
              <a:gd name="connsiteY1" fmla="*/ 1857061 h 2126815"/>
              <a:gd name="connsiteX2" fmla="*/ 5536895 w 5536895"/>
              <a:gd name="connsiteY2" fmla="*/ 2126815 h 2126815"/>
              <a:gd name="connsiteX3" fmla="*/ 0 w 5536895"/>
              <a:gd name="connsiteY3" fmla="*/ 2126815 h 2126815"/>
              <a:gd name="connsiteX4" fmla="*/ 94240 w 5536895"/>
              <a:gd name="connsiteY4" fmla="*/ 1857061 h 2126815"/>
              <a:gd name="connsiteX5" fmla="*/ 2768447 w 5536895"/>
              <a:gd name="connsiteY5" fmla="*/ 0 h 212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6895" h="2126815">
                <a:moveTo>
                  <a:pt x="2768447" y="0"/>
                </a:moveTo>
                <a:cubicBezTo>
                  <a:pt x="3970612" y="0"/>
                  <a:pt x="5002065" y="765744"/>
                  <a:pt x="5442656" y="1857061"/>
                </a:cubicBezTo>
                <a:lnTo>
                  <a:pt x="5536895" y="2126815"/>
                </a:lnTo>
                <a:lnTo>
                  <a:pt x="0" y="2126815"/>
                </a:lnTo>
                <a:lnTo>
                  <a:pt x="94240" y="1857061"/>
                </a:lnTo>
                <a:cubicBezTo>
                  <a:pt x="534830" y="765744"/>
                  <a:pt x="1566282" y="0"/>
                  <a:pt x="2768447" y="0"/>
                </a:cubicBezTo>
                <a:close/>
              </a:path>
            </a:pathLst>
          </a:custGeom>
          <a:gradFill flip="none" rotWithShape="1">
            <a:gsLst>
              <a:gs pos="0">
                <a:srgbClr val="B34768">
                  <a:alpha val="18000"/>
                </a:srgbClr>
              </a:gs>
              <a:gs pos="100000">
                <a:srgbClr val="3E8E86">
                  <a:alpha val="45000"/>
                </a:srgbClr>
              </a:gs>
              <a:gs pos="58000">
                <a:srgbClr val="2B2D78">
                  <a:alpha val="39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8" name="자유형: 도형 7">
            <a:extLst>
              <a:ext uri="{FF2B5EF4-FFF2-40B4-BE49-F238E27FC236}">
                <a16:creationId xmlns:a16="http://schemas.microsoft.com/office/drawing/2014/main" id="{09B5C67C-A750-47BD-995F-F4A9973147B0}"/>
              </a:ext>
            </a:extLst>
          </p:cNvPr>
          <p:cNvSpPr/>
          <p:nvPr/>
        </p:nvSpPr>
        <p:spPr>
          <a:xfrm>
            <a:off x="3658314" y="6139857"/>
            <a:ext cx="4880794" cy="1837365"/>
          </a:xfrm>
          <a:custGeom>
            <a:avLst/>
            <a:gdLst>
              <a:gd name="connsiteX0" fmla="*/ 3178307 w 6356614"/>
              <a:gd name="connsiteY0" fmla="*/ 0 h 2392935"/>
              <a:gd name="connsiteX1" fmla="*/ 6255705 w 6356614"/>
              <a:gd name="connsiteY1" fmla="*/ 2108017 h 2392935"/>
              <a:gd name="connsiteX2" fmla="*/ 6356614 w 6356614"/>
              <a:gd name="connsiteY2" fmla="*/ 2392935 h 2392935"/>
              <a:gd name="connsiteX3" fmla="*/ 0 w 6356614"/>
              <a:gd name="connsiteY3" fmla="*/ 2392935 h 2392935"/>
              <a:gd name="connsiteX4" fmla="*/ 100909 w 6356614"/>
              <a:gd name="connsiteY4" fmla="*/ 2108017 h 2392935"/>
              <a:gd name="connsiteX5" fmla="*/ 3178307 w 6356614"/>
              <a:gd name="connsiteY5" fmla="*/ 0 h 239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6614" h="2392935">
                <a:moveTo>
                  <a:pt x="3178307" y="0"/>
                </a:moveTo>
                <a:cubicBezTo>
                  <a:pt x="4561723" y="0"/>
                  <a:pt x="5748687" y="869224"/>
                  <a:pt x="6255705" y="2108017"/>
                </a:cubicBezTo>
                <a:lnTo>
                  <a:pt x="6356614" y="2392935"/>
                </a:lnTo>
                <a:lnTo>
                  <a:pt x="0" y="2392935"/>
                </a:lnTo>
                <a:lnTo>
                  <a:pt x="100909" y="2108017"/>
                </a:lnTo>
                <a:cubicBezTo>
                  <a:pt x="607928" y="869224"/>
                  <a:pt x="1794892" y="0"/>
                  <a:pt x="3178307" y="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9" name="자유형: 도형 8">
            <a:extLst>
              <a:ext uri="{FF2B5EF4-FFF2-40B4-BE49-F238E27FC236}">
                <a16:creationId xmlns:a16="http://schemas.microsoft.com/office/drawing/2014/main" id="{56CB4E73-5C9E-474E-B0F8-211B18861FE8}"/>
              </a:ext>
            </a:extLst>
          </p:cNvPr>
          <p:cNvSpPr/>
          <p:nvPr/>
        </p:nvSpPr>
        <p:spPr>
          <a:xfrm>
            <a:off x="4143527" y="6605048"/>
            <a:ext cx="849203" cy="838585"/>
          </a:xfrm>
          <a:custGeom>
            <a:avLst/>
            <a:gdLst>
              <a:gd name="connsiteX0" fmla="*/ 613446 w 959295"/>
              <a:gd name="connsiteY0" fmla="*/ 0 h 947300"/>
              <a:gd name="connsiteX1" fmla="*/ 663076 w 959295"/>
              <a:gd name="connsiteY1" fmla="*/ 15406 h 947300"/>
              <a:gd name="connsiteX2" fmla="*/ 959295 w 959295"/>
              <a:gd name="connsiteY2" fmla="*/ 462296 h 947300"/>
              <a:gd name="connsiteX3" fmla="*/ 474291 w 959295"/>
              <a:gd name="connsiteY3" fmla="*/ 947300 h 947300"/>
              <a:gd name="connsiteX4" fmla="*/ 27401 w 959295"/>
              <a:gd name="connsiteY4" fmla="*/ 651082 h 947300"/>
              <a:gd name="connsiteX5" fmla="*/ 0 w 959295"/>
              <a:gd name="connsiteY5" fmla="*/ 562810 h 947300"/>
              <a:gd name="connsiteX6" fmla="*/ 111683 w 959295"/>
              <a:gd name="connsiteY6" fmla="*/ 432738 h 947300"/>
              <a:gd name="connsiteX7" fmla="*/ 588974 w 959295"/>
              <a:gd name="connsiteY7" fmla="*/ 15786 h 94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9295" h="947300">
                <a:moveTo>
                  <a:pt x="613446" y="0"/>
                </a:moveTo>
                <a:lnTo>
                  <a:pt x="663076" y="15406"/>
                </a:lnTo>
                <a:cubicBezTo>
                  <a:pt x="837152" y="89034"/>
                  <a:pt x="959295" y="261401"/>
                  <a:pt x="959295" y="462296"/>
                </a:cubicBezTo>
                <a:cubicBezTo>
                  <a:pt x="959295" y="730156"/>
                  <a:pt x="742151" y="947300"/>
                  <a:pt x="474291" y="947300"/>
                </a:cubicBezTo>
                <a:cubicBezTo>
                  <a:pt x="273396" y="947300"/>
                  <a:pt x="101029" y="825157"/>
                  <a:pt x="27401" y="651082"/>
                </a:cubicBezTo>
                <a:lnTo>
                  <a:pt x="0" y="562810"/>
                </a:lnTo>
                <a:lnTo>
                  <a:pt x="111683" y="432738"/>
                </a:lnTo>
                <a:cubicBezTo>
                  <a:pt x="255575" y="276771"/>
                  <a:pt x="415593" y="136835"/>
                  <a:pt x="588974" y="1578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1" name="타원 10">
            <a:extLst>
              <a:ext uri="{FF2B5EF4-FFF2-40B4-BE49-F238E27FC236}">
                <a16:creationId xmlns:a16="http://schemas.microsoft.com/office/drawing/2014/main" id="{F8BA0EDB-9A69-4F78-85DC-5977F555ABD3}"/>
              </a:ext>
            </a:extLst>
          </p:cNvPr>
          <p:cNvSpPr/>
          <p:nvPr/>
        </p:nvSpPr>
        <p:spPr>
          <a:xfrm>
            <a:off x="4960199" y="7280087"/>
            <a:ext cx="646115" cy="646115"/>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2" name="자유형: 도형 11">
            <a:extLst>
              <a:ext uri="{FF2B5EF4-FFF2-40B4-BE49-F238E27FC236}">
                <a16:creationId xmlns:a16="http://schemas.microsoft.com/office/drawing/2014/main" id="{EABE8D1A-05D6-45DB-9A79-CB1F0F90AD24}"/>
              </a:ext>
            </a:extLst>
          </p:cNvPr>
          <p:cNvSpPr/>
          <p:nvPr/>
        </p:nvSpPr>
        <p:spPr>
          <a:xfrm>
            <a:off x="7700225" y="7050692"/>
            <a:ext cx="755837" cy="846936"/>
          </a:xfrm>
          <a:custGeom>
            <a:avLst/>
            <a:gdLst>
              <a:gd name="connsiteX0" fmla="*/ 376241 w 853824"/>
              <a:gd name="connsiteY0" fmla="*/ 0 h 956734"/>
              <a:gd name="connsiteX1" fmla="*/ 426253 w 853824"/>
              <a:gd name="connsiteY1" fmla="*/ 58246 h 956734"/>
              <a:gd name="connsiteX2" fmla="*/ 770844 w 853824"/>
              <a:gd name="connsiteY2" fmla="*/ 599636 h 956734"/>
              <a:gd name="connsiteX3" fmla="*/ 853824 w 853824"/>
              <a:gd name="connsiteY3" fmla="*/ 783325 h 956734"/>
              <a:gd name="connsiteX4" fmla="*/ 827954 w 853824"/>
              <a:gd name="connsiteY4" fmla="*/ 814680 h 956734"/>
              <a:gd name="connsiteX5" fmla="*/ 485004 w 853824"/>
              <a:gd name="connsiteY5" fmla="*/ 956734 h 956734"/>
              <a:gd name="connsiteX6" fmla="*/ 0 w 853824"/>
              <a:gd name="connsiteY6" fmla="*/ 471730 h 956734"/>
              <a:gd name="connsiteX7" fmla="*/ 296219 w 853824"/>
              <a:gd name="connsiteY7" fmla="*/ 24840 h 95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824" h="956734">
                <a:moveTo>
                  <a:pt x="376241" y="0"/>
                </a:moveTo>
                <a:lnTo>
                  <a:pt x="426253" y="58246"/>
                </a:lnTo>
                <a:cubicBezTo>
                  <a:pt x="559086" y="224583"/>
                  <a:pt x="674871" y="405998"/>
                  <a:pt x="770844" y="599636"/>
                </a:cubicBezTo>
                <a:lnTo>
                  <a:pt x="853824" y="783325"/>
                </a:lnTo>
                <a:lnTo>
                  <a:pt x="827954" y="814680"/>
                </a:lnTo>
                <a:cubicBezTo>
                  <a:pt x="740185" y="902448"/>
                  <a:pt x="618934" y="956734"/>
                  <a:pt x="485004" y="956734"/>
                </a:cubicBezTo>
                <a:cubicBezTo>
                  <a:pt x="217144" y="956734"/>
                  <a:pt x="0" y="739590"/>
                  <a:pt x="0" y="471730"/>
                </a:cubicBezTo>
                <a:cubicBezTo>
                  <a:pt x="0" y="270835"/>
                  <a:pt x="122144" y="98468"/>
                  <a:pt x="296219" y="2484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3" name="타원 12">
            <a:extLst>
              <a:ext uri="{FF2B5EF4-FFF2-40B4-BE49-F238E27FC236}">
                <a16:creationId xmlns:a16="http://schemas.microsoft.com/office/drawing/2014/main" id="{427FD84A-7236-4F69-BF05-37483425C828}"/>
              </a:ext>
            </a:extLst>
          </p:cNvPr>
          <p:cNvSpPr/>
          <p:nvPr/>
        </p:nvSpPr>
        <p:spPr>
          <a:xfrm>
            <a:off x="6812611" y="6585540"/>
            <a:ext cx="449623" cy="449623"/>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4" name="타원 13">
            <a:extLst>
              <a:ext uri="{FF2B5EF4-FFF2-40B4-BE49-F238E27FC236}">
                <a16:creationId xmlns:a16="http://schemas.microsoft.com/office/drawing/2014/main" id="{D0BC0A89-9459-497F-9569-896E6BD64C5F}"/>
              </a:ext>
            </a:extLst>
          </p:cNvPr>
          <p:cNvSpPr/>
          <p:nvPr/>
        </p:nvSpPr>
        <p:spPr>
          <a:xfrm>
            <a:off x="8462431" y="7187731"/>
            <a:ext cx="184712" cy="184712"/>
          </a:xfrm>
          <a:prstGeom prst="ellipse">
            <a:avLst/>
          </a:prstGeom>
          <a:solidFill>
            <a:schemeClr val="accent3"/>
          </a:solidFill>
          <a:ln>
            <a:noFill/>
          </a:ln>
          <a:effectLst>
            <a:outerShdw blurRad="63500" sx="132000" sy="13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 name="타원 14">
            <a:extLst>
              <a:ext uri="{FF2B5EF4-FFF2-40B4-BE49-F238E27FC236}">
                <a16:creationId xmlns:a16="http://schemas.microsoft.com/office/drawing/2014/main" id="{D59A0079-1350-496E-915A-0BEF4A80B0AD}"/>
              </a:ext>
            </a:extLst>
          </p:cNvPr>
          <p:cNvSpPr/>
          <p:nvPr/>
        </p:nvSpPr>
        <p:spPr>
          <a:xfrm>
            <a:off x="8236023" y="6408185"/>
            <a:ext cx="184712" cy="184712"/>
          </a:xfrm>
          <a:prstGeom prst="ellipse">
            <a:avLst/>
          </a:prstGeom>
          <a:solidFill>
            <a:schemeClr val="accent2"/>
          </a:solidFill>
          <a:ln>
            <a:noFill/>
          </a:ln>
          <a:effectLst>
            <a:outerShdw blurRad="63500" sx="132000" sy="132000" algn="ctr"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6" name="타원 15">
            <a:extLst>
              <a:ext uri="{FF2B5EF4-FFF2-40B4-BE49-F238E27FC236}">
                <a16:creationId xmlns:a16="http://schemas.microsoft.com/office/drawing/2014/main" id="{AC56F6F5-A62E-46FA-BABE-7E10E97A8E4A}"/>
              </a:ext>
            </a:extLst>
          </p:cNvPr>
          <p:cNvSpPr/>
          <p:nvPr/>
        </p:nvSpPr>
        <p:spPr>
          <a:xfrm>
            <a:off x="4086451" y="6552729"/>
            <a:ext cx="184712" cy="184712"/>
          </a:xfrm>
          <a:prstGeom prst="ellipse">
            <a:avLst/>
          </a:prstGeom>
          <a:solidFill>
            <a:schemeClr val="accent1"/>
          </a:solidFill>
          <a:ln>
            <a:noFill/>
          </a:ln>
          <a:effectLst>
            <a:outerShdw blurRad="63500" sx="132000" sy="132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7" name="타원 16">
            <a:extLst>
              <a:ext uri="{FF2B5EF4-FFF2-40B4-BE49-F238E27FC236}">
                <a16:creationId xmlns:a16="http://schemas.microsoft.com/office/drawing/2014/main" id="{11AE3B4F-F39C-476D-A550-D763FF143F51}"/>
              </a:ext>
            </a:extLst>
          </p:cNvPr>
          <p:cNvSpPr/>
          <p:nvPr/>
        </p:nvSpPr>
        <p:spPr>
          <a:xfrm>
            <a:off x="2924120" y="7309404"/>
            <a:ext cx="184712" cy="184712"/>
          </a:xfrm>
          <a:prstGeom prst="ellipse">
            <a:avLst/>
          </a:prstGeom>
          <a:solidFill>
            <a:schemeClr val="accent3"/>
          </a:solidFill>
          <a:ln>
            <a:noFill/>
          </a:ln>
          <a:effectLst>
            <a:outerShdw blurRad="63500" sx="132000" sy="13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8" name="타원 17">
            <a:extLst>
              <a:ext uri="{FF2B5EF4-FFF2-40B4-BE49-F238E27FC236}">
                <a16:creationId xmlns:a16="http://schemas.microsoft.com/office/drawing/2014/main" id="{8090F36D-D915-4434-B8C3-6EEB5C1D5968}"/>
              </a:ext>
            </a:extLst>
          </p:cNvPr>
          <p:cNvSpPr/>
          <p:nvPr/>
        </p:nvSpPr>
        <p:spPr>
          <a:xfrm>
            <a:off x="4776178" y="5754590"/>
            <a:ext cx="184712" cy="184712"/>
          </a:xfrm>
          <a:prstGeom prst="ellipse">
            <a:avLst/>
          </a:prstGeom>
          <a:solidFill>
            <a:schemeClr val="accent1"/>
          </a:solidFill>
          <a:ln>
            <a:noFill/>
          </a:ln>
          <a:effectLst>
            <a:outerShdw blurRad="63500" sx="132000" sy="13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0" name="타원 149">
            <a:extLst>
              <a:ext uri="{FF2B5EF4-FFF2-40B4-BE49-F238E27FC236}">
                <a16:creationId xmlns:a16="http://schemas.microsoft.com/office/drawing/2014/main" id="{2E149B08-7766-468D-82E7-C2E0A3A991DB}"/>
              </a:ext>
            </a:extLst>
          </p:cNvPr>
          <p:cNvSpPr/>
          <p:nvPr/>
        </p:nvSpPr>
        <p:spPr>
          <a:xfrm>
            <a:off x="3907892" y="1356095"/>
            <a:ext cx="4376216" cy="4145811"/>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dirty="0" err="1">
                <a:solidFill>
                  <a:schemeClr val="bg1"/>
                </a:solidFill>
              </a:rPr>
              <a:t>previousHash</a:t>
            </a:r>
            <a:endParaRPr lang="en-US" altLang="ko-KR" dirty="0">
              <a:solidFill>
                <a:schemeClr val="bg1"/>
              </a:solidFill>
            </a:endParaRPr>
          </a:p>
          <a:p>
            <a:pPr algn="ctr"/>
            <a:endParaRPr lang="en-US" altLang="ko-KR" dirty="0">
              <a:solidFill>
                <a:schemeClr val="bg1"/>
              </a:solidFill>
              <a:latin typeface="+mj-lt"/>
            </a:endParaRPr>
          </a:p>
          <a:p>
            <a:pPr algn="ctr"/>
            <a:r>
              <a:rPr lang="en-US" altLang="ko-KR" dirty="0">
                <a:solidFill>
                  <a:schemeClr val="bg1"/>
                </a:solidFill>
                <a:latin typeface="+mj-lt"/>
              </a:rPr>
              <a:t>Data:[</a:t>
            </a:r>
            <a:br>
              <a:rPr lang="en-US" altLang="ko-KR" dirty="0">
                <a:solidFill>
                  <a:schemeClr val="bg1"/>
                </a:solidFill>
                <a:latin typeface="+mj-lt"/>
              </a:rPr>
            </a:br>
            <a:r>
              <a:rPr lang="en-US" altLang="ko-KR" dirty="0">
                <a:solidFill>
                  <a:schemeClr val="bg1"/>
                </a:solidFill>
                <a:latin typeface="+mj-lt"/>
              </a:rPr>
              <a:t>Salem pays Ahmed 10 coins</a:t>
            </a:r>
          </a:p>
          <a:p>
            <a:pPr algn="ctr"/>
            <a:r>
              <a:rPr lang="en-US" altLang="ko-KR" dirty="0">
                <a:solidFill>
                  <a:schemeClr val="bg1"/>
                </a:solidFill>
                <a:latin typeface="+mj-lt"/>
              </a:rPr>
              <a:t>]</a:t>
            </a:r>
          </a:p>
          <a:p>
            <a:pPr algn="ctr"/>
            <a:endParaRPr lang="en-US" altLang="ko-KR" dirty="0">
              <a:solidFill>
                <a:schemeClr val="bg1"/>
              </a:solidFill>
              <a:latin typeface="+mj-lt"/>
            </a:endParaRPr>
          </a:p>
          <a:p>
            <a:pPr algn="ctr"/>
            <a:r>
              <a:rPr lang="en-US" altLang="ko-KR" dirty="0">
                <a:solidFill>
                  <a:schemeClr val="bg1"/>
                </a:solidFill>
                <a:latin typeface="+mj-lt"/>
              </a:rPr>
              <a:t>hash</a:t>
            </a:r>
          </a:p>
          <a:p>
            <a:pPr algn="ctr"/>
            <a:endParaRPr lang="ko-KR" altLang="en-US" dirty="0">
              <a:solidFill>
                <a:schemeClr val="bg1"/>
              </a:solidFill>
              <a:latin typeface="+mj-lt"/>
            </a:endParaRPr>
          </a:p>
        </p:txBody>
      </p:sp>
    </p:spTree>
    <p:extLst>
      <p:ext uri="{BB962C8B-B14F-4D97-AF65-F5344CB8AC3E}">
        <p14:creationId xmlns:p14="http://schemas.microsoft.com/office/powerpoint/2010/main" val="34886315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extLst>
              <p:ext uri="{D42A27DB-BD31-4B8C-83A1-F6EECF244321}">
                <p14:modId xmlns:p14="http://schemas.microsoft.com/office/powerpoint/2010/main" val="214302256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155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4763"/>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lumMod val="0"/>
                    <a:lumOff val="100000"/>
                  </a:srgbClr>
                </a:gs>
                <a:gs pos="100000">
                  <a:srgbClr val="3E8E86">
                    <a:alpha val="60000"/>
                    <a:lumMod val="0"/>
                    <a:lumOff val="100000"/>
                  </a:srgbClr>
                </a:gs>
                <a:gs pos="55000">
                  <a:srgbClr val="2B2D78">
                    <a:alpha val="60000"/>
                    <a:lumMod val="0"/>
                    <a:lumOff val="10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251" name="Picture 3">
            <a:extLst>
              <a:ext uri="{FF2B5EF4-FFF2-40B4-BE49-F238E27FC236}">
                <a16:creationId xmlns:a16="http://schemas.microsoft.com/office/drawing/2014/main" id="{D8816BFA-21D5-5749-94A9-75FCBC688E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68402" y="3015621"/>
            <a:ext cx="449792" cy="816429"/>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FE4EC1C6-8412-D046-94A5-BF317587B385}"/>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054414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860E58-57B9-9A49-A93F-84B8BFE4BA6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0979"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A860E58-57B9-9A49-A93F-84B8BFE4BA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4A365C8E-446D-4E16-9A6E-DB1AB3C9AD80}"/>
              </a:ext>
            </a:extLst>
          </p:cNvPr>
          <p:cNvSpPr>
            <a:spLocks noGrp="1"/>
          </p:cNvSpPr>
          <p:nvPr>
            <p:ph type="title"/>
          </p:nvPr>
        </p:nvSpPr>
        <p:spPr/>
        <p:txBody>
          <a:bodyPr vert="horz"/>
          <a:lstStyle/>
          <a:p>
            <a:r>
              <a:rPr lang="en-US" altLang="ko-KR" dirty="0"/>
              <a:t>CHAIN</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159" name="자유형: 도형 158">
            <a:extLst>
              <a:ext uri="{FF2B5EF4-FFF2-40B4-BE49-F238E27FC236}">
                <a16:creationId xmlns:a16="http://schemas.microsoft.com/office/drawing/2014/main" id="{9430ADB8-47E2-409A-BDFC-9D25E5A88456}"/>
              </a:ext>
            </a:extLst>
          </p:cNvPr>
          <p:cNvSpPr/>
          <p:nvPr/>
        </p:nvSpPr>
        <p:spPr>
          <a:xfrm>
            <a:off x="2779424" y="4466260"/>
            <a:ext cx="6638576" cy="2681228"/>
          </a:xfrm>
          <a:custGeom>
            <a:avLst/>
            <a:gdLst>
              <a:gd name="connsiteX0" fmla="*/ 3319288 w 6638576"/>
              <a:gd name="connsiteY0" fmla="*/ 0 h 2681228"/>
              <a:gd name="connsiteX1" fmla="*/ 6596492 w 6638576"/>
              <a:gd name="connsiteY1" fmla="*/ 2525965 h 2681228"/>
              <a:gd name="connsiteX2" fmla="*/ 6638576 w 6638576"/>
              <a:gd name="connsiteY2" fmla="*/ 2681228 h 2681228"/>
              <a:gd name="connsiteX3" fmla="*/ 0 w 6638576"/>
              <a:gd name="connsiteY3" fmla="*/ 2681228 h 2681228"/>
              <a:gd name="connsiteX4" fmla="*/ 42085 w 6638576"/>
              <a:gd name="connsiteY4" fmla="*/ 2525965 h 2681228"/>
              <a:gd name="connsiteX5" fmla="*/ 3319288 w 6638576"/>
              <a:gd name="connsiteY5" fmla="*/ 0 h 268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38576" h="2681228">
                <a:moveTo>
                  <a:pt x="3319288" y="0"/>
                </a:moveTo>
                <a:cubicBezTo>
                  <a:pt x="4859099" y="0"/>
                  <a:pt x="6162027" y="1062549"/>
                  <a:pt x="6596492" y="2525965"/>
                </a:cubicBezTo>
                <a:lnTo>
                  <a:pt x="6638576" y="2681228"/>
                </a:lnTo>
                <a:lnTo>
                  <a:pt x="0" y="2681228"/>
                </a:lnTo>
                <a:lnTo>
                  <a:pt x="42085" y="2525965"/>
                </a:lnTo>
                <a:cubicBezTo>
                  <a:pt x="476548" y="1062549"/>
                  <a:pt x="1779477" y="0"/>
                  <a:pt x="3319288"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7" name="자유형: 도형 156">
            <a:extLst>
              <a:ext uri="{FF2B5EF4-FFF2-40B4-BE49-F238E27FC236}">
                <a16:creationId xmlns:a16="http://schemas.microsoft.com/office/drawing/2014/main" id="{3FA3071E-CFCD-4200-8C7B-BAD5D26A60A1}"/>
              </a:ext>
            </a:extLst>
          </p:cNvPr>
          <p:cNvSpPr/>
          <p:nvPr/>
        </p:nvSpPr>
        <p:spPr>
          <a:xfrm>
            <a:off x="3017448" y="4703973"/>
            <a:ext cx="6162525" cy="2443515"/>
          </a:xfrm>
          <a:custGeom>
            <a:avLst/>
            <a:gdLst>
              <a:gd name="connsiteX0" fmla="*/ 3081263 w 6162525"/>
              <a:gd name="connsiteY0" fmla="*/ 0 h 2443515"/>
              <a:gd name="connsiteX1" fmla="*/ 6141768 w 6162525"/>
              <a:gd name="connsiteY1" fmla="*/ 2358942 h 2443515"/>
              <a:gd name="connsiteX2" fmla="*/ 6162525 w 6162525"/>
              <a:gd name="connsiteY2" fmla="*/ 2443515 h 2443515"/>
              <a:gd name="connsiteX3" fmla="*/ 0 w 6162525"/>
              <a:gd name="connsiteY3" fmla="*/ 2443515 h 2443515"/>
              <a:gd name="connsiteX4" fmla="*/ 20757 w 6162525"/>
              <a:gd name="connsiteY4" fmla="*/ 2358942 h 2443515"/>
              <a:gd name="connsiteX5" fmla="*/ 3081263 w 6162525"/>
              <a:gd name="connsiteY5" fmla="*/ 0 h 244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2525" h="2443515">
                <a:moveTo>
                  <a:pt x="3081263" y="0"/>
                </a:moveTo>
                <a:cubicBezTo>
                  <a:pt x="4519257" y="0"/>
                  <a:pt x="5736032" y="992291"/>
                  <a:pt x="6141768" y="2358942"/>
                </a:cubicBezTo>
                <a:lnTo>
                  <a:pt x="6162525" y="2443515"/>
                </a:lnTo>
                <a:lnTo>
                  <a:pt x="0" y="2443515"/>
                </a:lnTo>
                <a:lnTo>
                  <a:pt x="20757" y="2358942"/>
                </a:lnTo>
                <a:cubicBezTo>
                  <a:pt x="426494" y="992291"/>
                  <a:pt x="1643269" y="0"/>
                  <a:pt x="3081263"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5" name="자유형: 도형 154">
            <a:extLst>
              <a:ext uri="{FF2B5EF4-FFF2-40B4-BE49-F238E27FC236}">
                <a16:creationId xmlns:a16="http://schemas.microsoft.com/office/drawing/2014/main" id="{E479F9E4-D999-4B87-9D4B-8A67292B63FF}"/>
              </a:ext>
            </a:extLst>
          </p:cNvPr>
          <p:cNvSpPr/>
          <p:nvPr/>
        </p:nvSpPr>
        <p:spPr>
          <a:xfrm>
            <a:off x="3330264" y="5020673"/>
            <a:ext cx="5536895" cy="2126815"/>
          </a:xfrm>
          <a:custGeom>
            <a:avLst/>
            <a:gdLst>
              <a:gd name="connsiteX0" fmla="*/ 2768447 w 5536895"/>
              <a:gd name="connsiteY0" fmla="*/ 0 h 2126815"/>
              <a:gd name="connsiteX1" fmla="*/ 5442656 w 5536895"/>
              <a:gd name="connsiteY1" fmla="*/ 1857061 h 2126815"/>
              <a:gd name="connsiteX2" fmla="*/ 5536895 w 5536895"/>
              <a:gd name="connsiteY2" fmla="*/ 2126815 h 2126815"/>
              <a:gd name="connsiteX3" fmla="*/ 0 w 5536895"/>
              <a:gd name="connsiteY3" fmla="*/ 2126815 h 2126815"/>
              <a:gd name="connsiteX4" fmla="*/ 94240 w 5536895"/>
              <a:gd name="connsiteY4" fmla="*/ 1857061 h 2126815"/>
              <a:gd name="connsiteX5" fmla="*/ 2768447 w 5536895"/>
              <a:gd name="connsiteY5" fmla="*/ 0 h 212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6895" h="2126815">
                <a:moveTo>
                  <a:pt x="2768447" y="0"/>
                </a:moveTo>
                <a:cubicBezTo>
                  <a:pt x="3970612" y="0"/>
                  <a:pt x="5002065" y="765744"/>
                  <a:pt x="5442656" y="1857061"/>
                </a:cubicBezTo>
                <a:lnTo>
                  <a:pt x="5536895" y="2126815"/>
                </a:lnTo>
                <a:lnTo>
                  <a:pt x="0" y="2126815"/>
                </a:lnTo>
                <a:lnTo>
                  <a:pt x="94240" y="1857061"/>
                </a:lnTo>
                <a:cubicBezTo>
                  <a:pt x="534830" y="765744"/>
                  <a:pt x="1566282" y="0"/>
                  <a:pt x="2768447" y="0"/>
                </a:cubicBezTo>
                <a:close/>
              </a:path>
            </a:pathLst>
          </a:custGeom>
          <a:gradFill flip="none" rotWithShape="1">
            <a:gsLst>
              <a:gs pos="0">
                <a:srgbClr val="B34768">
                  <a:alpha val="18000"/>
                </a:srgbClr>
              </a:gs>
              <a:gs pos="100000">
                <a:srgbClr val="3E8E86">
                  <a:alpha val="45000"/>
                </a:srgbClr>
              </a:gs>
              <a:gs pos="58000">
                <a:srgbClr val="2B2D78">
                  <a:alpha val="39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8" name="자유형: 도형 7">
            <a:extLst>
              <a:ext uri="{FF2B5EF4-FFF2-40B4-BE49-F238E27FC236}">
                <a16:creationId xmlns:a16="http://schemas.microsoft.com/office/drawing/2014/main" id="{09B5C67C-A750-47BD-995F-F4A9973147B0}"/>
              </a:ext>
            </a:extLst>
          </p:cNvPr>
          <p:cNvSpPr/>
          <p:nvPr/>
        </p:nvSpPr>
        <p:spPr>
          <a:xfrm>
            <a:off x="3658314" y="5310123"/>
            <a:ext cx="4880794" cy="1837365"/>
          </a:xfrm>
          <a:custGeom>
            <a:avLst/>
            <a:gdLst>
              <a:gd name="connsiteX0" fmla="*/ 3178307 w 6356614"/>
              <a:gd name="connsiteY0" fmla="*/ 0 h 2392935"/>
              <a:gd name="connsiteX1" fmla="*/ 6255705 w 6356614"/>
              <a:gd name="connsiteY1" fmla="*/ 2108017 h 2392935"/>
              <a:gd name="connsiteX2" fmla="*/ 6356614 w 6356614"/>
              <a:gd name="connsiteY2" fmla="*/ 2392935 h 2392935"/>
              <a:gd name="connsiteX3" fmla="*/ 0 w 6356614"/>
              <a:gd name="connsiteY3" fmla="*/ 2392935 h 2392935"/>
              <a:gd name="connsiteX4" fmla="*/ 100909 w 6356614"/>
              <a:gd name="connsiteY4" fmla="*/ 2108017 h 2392935"/>
              <a:gd name="connsiteX5" fmla="*/ 3178307 w 6356614"/>
              <a:gd name="connsiteY5" fmla="*/ 0 h 239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6614" h="2392935">
                <a:moveTo>
                  <a:pt x="3178307" y="0"/>
                </a:moveTo>
                <a:cubicBezTo>
                  <a:pt x="4561723" y="0"/>
                  <a:pt x="5748687" y="869224"/>
                  <a:pt x="6255705" y="2108017"/>
                </a:cubicBezTo>
                <a:lnTo>
                  <a:pt x="6356614" y="2392935"/>
                </a:lnTo>
                <a:lnTo>
                  <a:pt x="0" y="2392935"/>
                </a:lnTo>
                <a:lnTo>
                  <a:pt x="100909" y="2108017"/>
                </a:lnTo>
                <a:cubicBezTo>
                  <a:pt x="607928" y="869224"/>
                  <a:pt x="1794892" y="0"/>
                  <a:pt x="3178307" y="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9" name="자유형: 도형 8">
            <a:extLst>
              <a:ext uri="{FF2B5EF4-FFF2-40B4-BE49-F238E27FC236}">
                <a16:creationId xmlns:a16="http://schemas.microsoft.com/office/drawing/2014/main" id="{56CB4E73-5C9E-474E-B0F8-211B18861FE8}"/>
              </a:ext>
            </a:extLst>
          </p:cNvPr>
          <p:cNvSpPr/>
          <p:nvPr/>
        </p:nvSpPr>
        <p:spPr>
          <a:xfrm>
            <a:off x="4143527" y="5775314"/>
            <a:ext cx="849203" cy="838585"/>
          </a:xfrm>
          <a:custGeom>
            <a:avLst/>
            <a:gdLst>
              <a:gd name="connsiteX0" fmla="*/ 613446 w 959295"/>
              <a:gd name="connsiteY0" fmla="*/ 0 h 947300"/>
              <a:gd name="connsiteX1" fmla="*/ 663076 w 959295"/>
              <a:gd name="connsiteY1" fmla="*/ 15406 h 947300"/>
              <a:gd name="connsiteX2" fmla="*/ 959295 w 959295"/>
              <a:gd name="connsiteY2" fmla="*/ 462296 h 947300"/>
              <a:gd name="connsiteX3" fmla="*/ 474291 w 959295"/>
              <a:gd name="connsiteY3" fmla="*/ 947300 h 947300"/>
              <a:gd name="connsiteX4" fmla="*/ 27401 w 959295"/>
              <a:gd name="connsiteY4" fmla="*/ 651082 h 947300"/>
              <a:gd name="connsiteX5" fmla="*/ 0 w 959295"/>
              <a:gd name="connsiteY5" fmla="*/ 562810 h 947300"/>
              <a:gd name="connsiteX6" fmla="*/ 111683 w 959295"/>
              <a:gd name="connsiteY6" fmla="*/ 432738 h 947300"/>
              <a:gd name="connsiteX7" fmla="*/ 588974 w 959295"/>
              <a:gd name="connsiteY7" fmla="*/ 15786 h 94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9295" h="947300">
                <a:moveTo>
                  <a:pt x="613446" y="0"/>
                </a:moveTo>
                <a:lnTo>
                  <a:pt x="663076" y="15406"/>
                </a:lnTo>
                <a:cubicBezTo>
                  <a:pt x="837152" y="89034"/>
                  <a:pt x="959295" y="261401"/>
                  <a:pt x="959295" y="462296"/>
                </a:cubicBezTo>
                <a:cubicBezTo>
                  <a:pt x="959295" y="730156"/>
                  <a:pt x="742151" y="947300"/>
                  <a:pt x="474291" y="947300"/>
                </a:cubicBezTo>
                <a:cubicBezTo>
                  <a:pt x="273396" y="947300"/>
                  <a:pt x="101029" y="825157"/>
                  <a:pt x="27401" y="651082"/>
                </a:cubicBezTo>
                <a:lnTo>
                  <a:pt x="0" y="562810"/>
                </a:lnTo>
                <a:lnTo>
                  <a:pt x="111683" y="432738"/>
                </a:lnTo>
                <a:cubicBezTo>
                  <a:pt x="255575" y="276771"/>
                  <a:pt x="415593" y="136835"/>
                  <a:pt x="588974" y="1578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1" name="타원 10">
            <a:extLst>
              <a:ext uri="{FF2B5EF4-FFF2-40B4-BE49-F238E27FC236}">
                <a16:creationId xmlns:a16="http://schemas.microsoft.com/office/drawing/2014/main" id="{F8BA0EDB-9A69-4F78-85DC-5977F555ABD3}"/>
              </a:ext>
            </a:extLst>
          </p:cNvPr>
          <p:cNvSpPr/>
          <p:nvPr/>
        </p:nvSpPr>
        <p:spPr>
          <a:xfrm>
            <a:off x="4960199" y="6450353"/>
            <a:ext cx="646115" cy="646115"/>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2" name="자유형: 도형 11">
            <a:extLst>
              <a:ext uri="{FF2B5EF4-FFF2-40B4-BE49-F238E27FC236}">
                <a16:creationId xmlns:a16="http://schemas.microsoft.com/office/drawing/2014/main" id="{EABE8D1A-05D6-45DB-9A79-CB1F0F90AD24}"/>
              </a:ext>
            </a:extLst>
          </p:cNvPr>
          <p:cNvSpPr/>
          <p:nvPr/>
        </p:nvSpPr>
        <p:spPr>
          <a:xfrm>
            <a:off x="7700225" y="6220958"/>
            <a:ext cx="755837" cy="846936"/>
          </a:xfrm>
          <a:custGeom>
            <a:avLst/>
            <a:gdLst>
              <a:gd name="connsiteX0" fmla="*/ 376241 w 853824"/>
              <a:gd name="connsiteY0" fmla="*/ 0 h 956734"/>
              <a:gd name="connsiteX1" fmla="*/ 426253 w 853824"/>
              <a:gd name="connsiteY1" fmla="*/ 58246 h 956734"/>
              <a:gd name="connsiteX2" fmla="*/ 770844 w 853824"/>
              <a:gd name="connsiteY2" fmla="*/ 599636 h 956734"/>
              <a:gd name="connsiteX3" fmla="*/ 853824 w 853824"/>
              <a:gd name="connsiteY3" fmla="*/ 783325 h 956734"/>
              <a:gd name="connsiteX4" fmla="*/ 827954 w 853824"/>
              <a:gd name="connsiteY4" fmla="*/ 814680 h 956734"/>
              <a:gd name="connsiteX5" fmla="*/ 485004 w 853824"/>
              <a:gd name="connsiteY5" fmla="*/ 956734 h 956734"/>
              <a:gd name="connsiteX6" fmla="*/ 0 w 853824"/>
              <a:gd name="connsiteY6" fmla="*/ 471730 h 956734"/>
              <a:gd name="connsiteX7" fmla="*/ 296219 w 853824"/>
              <a:gd name="connsiteY7" fmla="*/ 24840 h 95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824" h="956734">
                <a:moveTo>
                  <a:pt x="376241" y="0"/>
                </a:moveTo>
                <a:lnTo>
                  <a:pt x="426253" y="58246"/>
                </a:lnTo>
                <a:cubicBezTo>
                  <a:pt x="559086" y="224583"/>
                  <a:pt x="674871" y="405998"/>
                  <a:pt x="770844" y="599636"/>
                </a:cubicBezTo>
                <a:lnTo>
                  <a:pt x="853824" y="783325"/>
                </a:lnTo>
                <a:lnTo>
                  <a:pt x="827954" y="814680"/>
                </a:lnTo>
                <a:cubicBezTo>
                  <a:pt x="740185" y="902448"/>
                  <a:pt x="618934" y="956734"/>
                  <a:pt x="485004" y="956734"/>
                </a:cubicBezTo>
                <a:cubicBezTo>
                  <a:pt x="217144" y="956734"/>
                  <a:pt x="0" y="739590"/>
                  <a:pt x="0" y="471730"/>
                </a:cubicBezTo>
                <a:cubicBezTo>
                  <a:pt x="0" y="270835"/>
                  <a:pt x="122144" y="98468"/>
                  <a:pt x="296219" y="2484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3" name="타원 12">
            <a:extLst>
              <a:ext uri="{FF2B5EF4-FFF2-40B4-BE49-F238E27FC236}">
                <a16:creationId xmlns:a16="http://schemas.microsoft.com/office/drawing/2014/main" id="{427FD84A-7236-4F69-BF05-37483425C828}"/>
              </a:ext>
            </a:extLst>
          </p:cNvPr>
          <p:cNvSpPr/>
          <p:nvPr/>
        </p:nvSpPr>
        <p:spPr>
          <a:xfrm>
            <a:off x="6812611" y="5755806"/>
            <a:ext cx="449623" cy="449623"/>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4" name="타원 13">
            <a:extLst>
              <a:ext uri="{FF2B5EF4-FFF2-40B4-BE49-F238E27FC236}">
                <a16:creationId xmlns:a16="http://schemas.microsoft.com/office/drawing/2014/main" id="{D0BC0A89-9459-497F-9569-896E6BD64C5F}"/>
              </a:ext>
            </a:extLst>
          </p:cNvPr>
          <p:cNvSpPr/>
          <p:nvPr/>
        </p:nvSpPr>
        <p:spPr>
          <a:xfrm>
            <a:off x="8462431" y="6357997"/>
            <a:ext cx="184712" cy="184712"/>
          </a:xfrm>
          <a:prstGeom prst="ellipse">
            <a:avLst/>
          </a:prstGeom>
          <a:solidFill>
            <a:schemeClr val="accent3"/>
          </a:solidFill>
          <a:ln>
            <a:noFill/>
          </a:ln>
          <a:effectLst>
            <a:outerShdw blurRad="63500" sx="132000" sy="13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 name="타원 14">
            <a:extLst>
              <a:ext uri="{FF2B5EF4-FFF2-40B4-BE49-F238E27FC236}">
                <a16:creationId xmlns:a16="http://schemas.microsoft.com/office/drawing/2014/main" id="{D59A0079-1350-496E-915A-0BEF4A80B0AD}"/>
              </a:ext>
            </a:extLst>
          </p:cNvPr>
          <p:cNvSpPr/>
          <p:nvPr/>
        </p:nvSpPr>
        <p:spPr>
          <a:xfrm>
            <a:off x="8236023" y="5578451"/>
            <a:ext cx="184712" cy="184712"/>
          </a:xfrm>
          <a:prstGeom prst="ellipse">
            <a:avLst/>
          </a:prstGeom>
          <a:solidFill>
            <a:schemeClr val="accent2"/>
          </a:solidFill>
          <a:ln>
            <a:noFill/>
          </a:ln>
          <a:effectLst>
            <a:outerShdw blurRad="63500" sx="132000" sy="132000" algn="ctr"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6" name="타원 15">
            <a:extLst>
              <a:ext uri="{FF2B5EF4-FFF2-40B4-BE49-F238E27FC236}">
                <a16:creationId xmlns:a16="http://schemas.microsoft.com/office/drawing/2014/main" id="{AC56F6F5-A62E-46FA-BABE-7E10E97A8E4A}"/>
              </a:ext>
            </a:extLst>
          </p:cNvPr>
          <p:cNvSpPr/>
          <p:nvPr/>
        </p:nvSpPr>
        <p:spPr>
          <a:xfrm>
            <a:off x="4086451" y="5722995"/>
            <a:ext cx="184712" cy="184712"/>
          </a:xfrm>
          <a:prstGeom prst="ellipse">
            <a:avLst/>
          </a:prstGeom>
          <a:solidFill>
            <a:schemeClr val="accent1"/>
          </a:solidFill>
          <a:ln>
            <a:noFill/>
          </a:ln>
          <a:effectLst>
            <a:outerShdw blurRad="63500" sx="132000" sy="132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7" name="타원 16">
            <a:extLst>
              <a:ext uri="{FF2B5EF4-FFF2-40B4-BE49-F238E27FC236}">
                <a16:creationId xmlns:a16="http://schemas.microsoft.com/office/drawing/2014/main" id="{11AE3B4F-F39C-476D-A550-D763FF143F51}"/>
              </a:ext>
            </a:extLst>
          </p:cNvPr>
          <p:cNvSpPr/>
          <p:nvPr/>
        </p:nvSpPr>
        <p:spPr>
          <a:xfrm>
            <a:off x="2924120" y="6479670"/>
            <a:ext cx="184712" cy="184712"/>
          </a:xfrm>
          <a:prstGeom prst="ellipse">
            <a:avLst/>
          </a:prstGeom>
          <a:solidFill>
            <a:schemeClr val="accent3"/>
          </a:solidFill>
          <a:ln>
            <a:noFill/>
          </a:ln>
          <a:effectLst>
            <a:outerShdw blurRad="63500" sx="132000" sy="13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8" name="타원 17">
            <a:extLst>
              <a:ext uri="{FF2B5EF4-FFF2-40B4-BE49-F238E27FC236}">
                <a16:creationId xmlns:a16="http://schemas.microsoft.com/office/drawing/2014/main" id="{8090F36D-D915-4434-B8C3-6EEB5C1D5968}"/>
              </a:ext>
            </a:extLst>
          </p:cNvPr>
          <p:cNvSpPr/>
          <p:nvPr/>
        </p:nvSpPr>
        <p:spPr>
          <a:xfrm>
            <a:off x="4776178" y="4924856"/>
            <a:ext cx="184712" cy="184712"/>
          </a:xfrm>
          <a:prstGeom prst="ellipse">
            <a:avLst/>
          </a:prstGeom>
          <a:solidFill>
            <a:schemeClr val="accent1"/>
          </a:solidFill>
          <a:ln>
            <a:noFill/>
          </a:ln>
          <a:effectLst>
            <a:outerShdw blurRad="63500" sx="132000" sy="13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0" name="타원 149">
            <a:extLst>
              <a:ext uri="{FF2B5EF4-FFF2-40B4-BE49-F238E27FC236}">
                <a16:creationId xmlns:a16="http://schemas.microsoft.com/office/drawing/2014/main" id="{2E149B08-7766-468D-82E7-C2E0A3A991DB}"/>
              </a:ext>
            </a:extLst>
          </p:cNvPr>
          <p:cNvSpPr/>
          <p:nvPr/>
        </p:nvSpPr>
        <p:spPr>
          <a:xfrm>
            <a:off x="1686261" y="2202783"/>
            <a:ext cx="2041415" cy="1933936"/>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700" dirty="0" err="1">
                <a:solidFill>
                  <a:schemeClr val="bg1"/>
                </a:solidFill>
              </a:rPr>
              <a:t>previousHash</a:t>
            </a:r>
            <a:endParaRPr lang="en-US" altLang="ko-KR" sz="700" dirty="0">
              <a:solidFill>
                <a:schemeClr val="bg1"/>
              </a:solidFill>
            </a:endParaRPr>
          </a:p>
          <a:p>
            <a:pPr algn="ctr"/>
            <a:endParaRPr lang="en-US" altLang="ko-KR" sz="700" dirty="0">
              <a:solidFill>
                <a:schemeClr val="bg1"/>
              </a:solidFill>
              <a:latin typeface="+mj-lt"/>
            </a:endParaRPr>
          </a:p>
          <a:p>
            <a:pPr algn="ctr"/>
            <a:r>
              <a:rPr lang="en-US" altLang="ko-KR" sz="700" dirty="0">
                <a:solidFill>
                  <a:schemeClr val="bg1"/>
                </a:solidFill>
                <a:latin typeface="+mj-lt"/>
              </a:rPr>
              <a:t>Data:[</a:t>
            </a:r>
            <a:br>
              <a:rPr lang="en-US" altLang="ko-KR" sz="700" dirty="0">
                <a:solidFill>
                  <a:schemeClr val="bg1"/>
                </a:solidFill>
                <a:latin typeface="+mj-lt"/>
              </a:rPr>
            </a:br>
            <a:r>
              <a:rPr lang="en-US" altLang="ko-KR" sz="700" dirty="0">
                <a:solidFill>
                  <a:schemeClr val="bg1"/>
                </a:solidFill>
                <a:latin typeface="+mj-lt"/>
              </a:rPr>
              <a:t>Salem pays Ahmed 10 coins</a:t>
            </a:r>
          </a:p>
          <a:p>
            <a:pPr algn="ctr"/>
            <a:r>
              <a:rPr lang="en-US" altLang="ko-KR" sz="700" dirty="0">
                <a:solidFill>
                  <a:schemeClr val="bg1"/>
                </a:solidFill>
                <a:latin typeface="+mj-lt"/>
              </a:rPr>
              <a:t>]</a:t>
            </a:r>
          </a:p>
          <a:p>
            <a:pPr algn="ctr"/>
            <a:endParaRPr lang="en-US" altLang="ko-KR" sz="700" dirty="0">
              <a:solidFill>
                <a:schemeClr val="bg1"/>
              </a:solidFill>
              <a:latin typeface="+mj-lt"/>
            </a:endParaRPr>
          </a:p>
          <a:p>
            <a:pPr algn="ctr"/>
            <a:r>
              <a:rPr lang="en-US" altLang="ko-KR" sz="700" dirty="0">
                <a:solidFill>
                  <a:schemeClr val="bg1"/>
                </a:solidFill>
                <a:highlight>
                  <a:srgbClr val="FFFF00"/>
                </a:highlight>
                <a:latin typeface="+mj-lt"/>
              </a:rPr>
              <a:t>hash</a:t>
            </a:r>
          </a:p>
          <a:p>
            <a:pPr algn="ctr"/>
            <a:endParaRPr lang="ko-KR" altLang="en-US" sz="700" dirty="0">
              <a:solidFill>
                <a:schemeClr val="bg1"/>
              </a:solidFill>
              <a:latin typeface="+mj-lt"/>
            </a:endParaRPr>
          </a:p>
        </p:txBody>
      </p:sp>
      <p:sp>
        <p:nvSpPr>
          <p:cNvPr id="19" name="타원 149">
            <a:extLst>
              <a:ext uri="{FF2B5EF4-FFF2-40B4-BE49-F238E27FC236}">
                <a16:creationId xmlns:a16="http://schemas.microsoft.com/office/drawing/2014/main" id="{2AEFCA5A-8B01-7940-8217-E5062108996B}"/>
              </a:ext>
            </a:extLst>
          </p:cNvPr>
          <p:cNvSpPr/>
          <p:nvPr/>
        </p:nvSpPr>
        <p:spPr>
          <a:xfrm>
            <a:off x="3961655" y="2202783"/>
            <a:ext cx="2041415" cy="1933936"/>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700" dirty="0" err="1">
                <a:solidFill>
                  <a:schemeClr val="bg1"/>
                </a:solidFill>
                <a:highlight>
                  <a:srgbClr val="FFFF00"/>
                </a:highlight>
              </a:rPr>
              <a:t>previousHash</a:t>
            </a:r>
            <a:endParaRPr lang="en-US" altLang="ko-KR" sz="700" dirty="0">
              <a:solidFill>
                <a:schemeClr val="bg1"/>
              </a:solidFill>
              <a:highlight>
                <a:srgbClr val="FFFF00"/>
              </a:highlight>
            </a:endParaRPr>
          </a:p>
          <a:p>
            <a:pPr algn="ctr"/>
            <a:endParaRPr lang="en-US" altLang="ko-KR" sz="700" dirty="0">
              <a:solidFill>
                <a:schemeClr val="bg1"/>
              </a:solidFill>
              <a:latin typeface="+mj-lt"/>
            </a:endParaRPr>
          </a:p>
          <a:p>
            <a:pPr algn="ctr"/>
            <a:r>
              <a:rPr lang="en-US" altLang="ko-KR" sz="700" dirty="0">
                <a:solidFill>
                  <a:schemeClr val="bg1"/>
                </a:solidFill>
                <a:latin typeface="+mj-lt"/>
              </a:rPr>
              <a:t>Data:[</a:t>
            </a:r>
            <a:br>
              <a:rPr lang="en-US" altLang="ko-KR" sz="700" dirty="0">
                <a:solidFill>
                  <a:schemeClr val="bg1"/>
                </a:solidFill>
                <a:latin typeface="+mj-lt"/>
              </a:rPr>
            </a:br>
            <a:r>
              <a:rPr lang="en-US" altLang="ko-KR" sz="700" dirty="0">
                <a:solidFill>
                  <a:schemeClr val="bg1"/>
                </a:solidFill>
                <a:latin typeface="+mj-lt"/>
              </a:rPr>
              <a:t>Salem pays Ahmed 10 coins</a:t>
            </a:r>
          </a:p>
          <a:p>
            <a:pPr algn="ctr"/>
            <a:r>
              <a:rPr lang="en-US" altLang="ko-KR" sz="700" dirty="0">
                <a:solidFill>
                  <a:schemeClr val="bg1"/>
                </a:solidFill>
                <a:latin typeface="+mj-lt"/>
              </a:rPr>
              <a:t>]</a:t>
            </a:r>
          </a:p>
          <a:p>
            <a:pPr algn="ctr"/>
            <a:endParaRPr lang="en-US" altLang="ko-KR" sz="700" dirty="0">
              <a:solidFill>
                <a:schemeClr val="bg1"/>
              </a:solidFill>
              <a:latin typeface="+mj-lt"/>
            </a:endParaRPr>
          </a:p>
          <a:p>
            <a:pPr algn="ctr"/>
            <a:r>
              <a:rPr lang="en-US" altLang="ko-KR" sz="700" dirty="0">
                <a:solidFill>
                  <a:schemeClr val="bg1"/>
                </a:solidFill>
                <a:highlight>
                  <a:srgbClr val="00FF00"/>
                </a:highlight>
                <a:latin typeface="+mj-lt"/>
              </a:rPr>
              <a:t>hash</a:t>
            </a:r>
          </a:p>
          <a:p>
            <a:pPr algn="ctr"/>
            <a:endParaRPr lang="ko-KR" altLang="en-US" sz="700" dirty="0">
              <a:solidFill>
                <a:schemeClr val="bg1"/>
              </a:solidFill>
              <a:latin typeface="+mj-lt"/>
            </a:endParaRPr>
          </a:p>
        </p:txBody>
      </p:sp>
      <p:sp>
        <p:nvSpPr>
          <p:cNvPr id="20" name="타원 149">
            <a:extLst>
              <a:ext uri="{FF2B5EF4-FFF2-40B4-BE49-F238E27FC236}">
                <a16:creationId xmlns:a16="http://schemas.microsoft.com/office/drawing/2014/main" id="{221AC1DD-F36F-A34B-941D-DB9F2AC24D17}"/>
              </a:ext>
            </a:extLst>
          </p:cNvPr>
          <p:cNvSpPr/>
          <p:nvPr/>
        </p:nvSpPr>
        <p:spPr>
          <a:xfrm>
            <a:off x="6237049" y="2202783"/>
            <a:ext cx="2041415" cy="1933936"/>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700" dirty="0" err="1">
                <a:solidFill>
                  <a:schemeClr val="bg1"/>
                </a:solidFill>
                <a:highlight>
                  <a:srgbClr val="00FF00"/>
                </a:highlight>
              </a:rPr>
              <a:t>previousHash</a:t>
            </a:r>
            <a:endParaRPr lang="en-US" altLang="ko-KR" sz="700" dirty="0">
              <a:solidFill>
                <a:schemeClr val="bg1"/>
              </a:solidFill>
              <a:highlight>
                <a:srgbClr val="00FF00"/>
              </a:highlight>
            </a:endParaRPr>
          </a:p>
          <a:p>
            <a:pPr algn="ctr"/>
            <a:endParaRPr lang="en-US" altLang="ko-KR" sz="700" dirty="0">
              <a:solidFill>
                <a:schemeClr val="bg1"/>
              </a:solidFill>
              <a:latin typeface="+mj-lt"/>
            </a:endParaRPr>
          </a:p>
          <a:p>
            <a:pPr algn="ctr"/>
            <a:r>
              <a:rPr lang="en-US" altLang="ko-KR" sz="700" dirty="0">
                <a:solidFill>
                  <a:schemeClr val="bg1"/>
                </a:solidFill>
                <a:latin typeface="+mj-lt"/>
              </a:rPr>
              <a:t>Data:[</a:t>
            </a:r>
            <a:br>
              <a:rPr lang="en-US" altLang="ko-KR" sz="700" dirty="0">
                <a:solidFill>
                  <a:schemeClr val="bg1"/>
                </a:solidFill>
                <a:latin typeface="+mj-lt"/>
              </a:rPr>
            </a:br>
            <a:r>
              <a:rPr lang="en-US" altLang="ko-KR" sz="700" dirty="0">
                <a:solidFill>
                  <a:schemeClr val="bg1"/>
                </a:solidFill>
                <a:latin typeface="+mj-lt"/>
              </a:rPr>
              <a:t>Salem pays Ahmed 10 coins</a:t>
            </a:r>
          </a:p>
          <a:p>
            <a:pPr algn="ctr"/>
            <a:r>
              <a:rPr lang="en-US" altLang="ko-KR" sz="700" dirty="0">
                <a:solidFill>
                  <a:schemeClr val="bg1"/>
                </a:solidFill>
                <a:latin typeface="+mj-lt"/>
              </a:rPr>
              <a:t>]</a:t>
            </a:r>
          </a:p>
          <a:p>
            <a:pPr algn="ctr"/>
            <a:endParaRPr lang="en-US" altLang="ko-KR" sz="700" dirty="0">
              <a:solidFill>
                <a:schemeClr val="bg1"/>
              </a:solidFill>
              <a:latin typeface="+mj-lt"/>
            </a:endParaRPr>
          </a:p>
          <a:p>
            <a:pPr algn="ctr"/>
            <a:r>
              <a:rPr lang="en-US" altLang="ko-KR" sz="700" dirty="0">
                <a:solidFill>
                  <a:schemeClr val="bg1"/>
                </a:solidFill>
                <a:highlight>
                  <a:srgbClr val="0000FF"/>
                </a:highlight>
                <a:latin typeface="+mj-lt"/>
              </a:rPr>
              <a:t>hash</a:t>
            </a:r>
          </a:p>
          <a:p>
            <a:pPr algn="ctr"/>
            <a:endParaRPr lang="ko-KR" altLang="en-US" sz="700" dirty="0">
              <a:solidFill>
                <a:schemeClr val="bg1"/>
              </a:solidFill>
              <a:latin typeface="+mj-lt"/>
            </a:endParaRPr>
          </a:p>
        </p:txBody>
      </p:sp>
      <p:sp>
        <p:nvSpPr>
          <p:cNvPr id="21" name="타원 149">
            <a:extLst>
              <a:ext uri="{FF2B5EF4-FFF2-40B4-BE49-F238E27FC236}">
                <a16:creationId xmlns:a16="http://schemas.microsoft.com/office/drawing/2014/main" id="{90E315E4-5682-DA4A-B7C6-095C191B61E4}"/>
              </a:ext>
            </a:extLst>
          </p:cNvPr>
          <p:cNvSpPr/>
          <p:nvPr/>
        </p:nvSpPr>
        <p:spPr>
          <a:xfrm>
            <a:off x="8512443" y="2202783"/>
            <a:ext cx="2041415" cy="1933936"/>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700" dirty="0" err="1">
                <a:solidFill>
                  <a:schemeClr val="bg1"/>
                </a:solidFill>
                <a:highlight>
                  <a:srgbClr val="0000FF"/>
                </a:highlight>
              </a:rPr>
              <a:t>previousHash</a:t>
            </a:r>
            <a:endParaRPr lang="en-US" altLang="ko-KR" sz="700" dirty="0">
              <a:solidFill>
                <a:schemeClr val="bg1"/>
              </a:solidFill>
              <a:highlight>
                <a:srgbClr val="0000FF"/>
              </a:highlight>
            </a:endParaRPr>
          </a:p>
          <a:p>
            <a:pPr algn="ctr"/>
            <a:endParaRPr lang="en-US" altLang="ko-KR" sz="700" dirty="0">
              <a:solidFill>
                <a:schemeClr val="bg1"/>
              </a:solidFill>
              <a:latin typeface="+mj-lt"/>
            </a:endParaRPr>
          </a:p>
          <a:p>
            <a:pPr algn="ctr"/>
            <a:r>
              <a:rPr lang="en-US" altLang="ko-KR" sz="700" dirty="0">
                <a:solidFill>
                  <a:schemeClr val="bg1"/>
                </a:solidFill>
                <a:latin typeface="+mj-lt"/>
              </a:rPr>
              <a:t>Data:[</a:t>
            </a:r>
            <a:br>
              <a:rPr lang="en-US" altLang="ko-KR" sz="700" dirty="0">
                <a:solidFill>
                  <a:schemeClr val="bg1"/>
                </a:solidFill>
                <a:latin typeface="+mj-lt"/>
              </a:rPr>
            </a:br>
            <a:r>
              <a:rPr lang="en-US" altLang="ko-KR" sz="700" dirty="0">
                <a:solidFill>
                  <a:schemeClr val="bg1"/>
                </a:solidFill>
                <a:latin typeface="+mj-lt"/>
              </a:rPr>
              <a:t>Salem pays Ahmed 10 coins</a:t>
            </a:r>
          </a:p>
          <a:p>
            <a:pPr algn="ctr"/>
            <a:r>
              <a:rPr lang="en-US" altLang="ko-KR" sz="700" dirty="0">
                <a:solidFill>
                  <a:schemeClr val="bg1"/>
                </a:solidFill>
                <a:latin typeface="+mj-lt"/>
              </a:rPr>
              <a:t>]</a:t>
            </a:r>
          </a:p>
          <a:p>
            <a:pPr algn="ctr"/>
            <a:endParaRPr lang="en-US" altLang="ko-KR" sz="700" dirty="0">
              <a:solidFill>
                <a:schemeClr val="bg1"/>
              </a:solidFill>
              <a:latin typeface="+mj-lt"/>
            </a:endParaRPr>
          </a:p>
          <a:p>
            <a:pPr algn="ctr"/>
            <a:r>
              <a:rPr lang="en-US" altLang="ko-KR" sz="700" dirty="0">
                <a:solidFill>
                  <a:schemeClr val="bg1"/>
                </a:solidFill>
                <a:latin typeface="+mj-lt"/>
              </a:rPr>
              <a:t>hash</a:t>
            </a:r>
          </a:p>
          <a:p>
            <a:pPr algn="ctr"/>
            <a:endParaRPr lang="ko-KR" altLang="en-US" sz="700" dirty="0">
              <a:solidFill>
                <a:schemeClr val="bg1"/>
              </a:solidFill>
              <a:latin typeface="+mj-lt"/>
            </a:endParaRPr>
          </a:p>
        </p:txBody>
      </p:sp>
      <p:cxnSp>
        <p:nvCxnSpPr>
          <p:cNvPr id="5" name="Straight Connector 4">
            <a:extLst>
              <a:ext uri="{FF2B5EF4-FFF2-40B4-BE49-F238E27FC236}">
                <a16:creationId xmlns:a16="http://schemas.microsoft.com/office/drawing/2014/main" id="{401C17EC-9C02-B246-A81F-667530BE977F}"/>
              </a:ext>
            </a:extLst>
          </p:cNvPr>
          <p:cNvCxnSpPr>
            <a:stCxn id="150" idx="3"/>
            <a:endCxn id="19" idx="1"/>
          </p:cNvCxnSpPr>
          <p:nvPr/>
        </p:nvCxnSpPr>
        <p:spPr>
          <a:xfrm flipV="1">
            <a:off x="2493133" y="2630454"/>
            <a:ext cx="2275394" cy="1506265"/>
          </a:xfrm>
          <a:prstGeom prst="line">
            <a:avLst/>
          </a:prstGeom>
          <a:ln w="666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B0D0DF0-4948-AD43-9324-DEECF352E84B}"/>
              </a:ext>
            </a:extLst>
          </p:cNvPr>
          <p:cNvCxnSpPr>
            <a:stCxn id="19" idx="3"/>
            <a:endCxn id="20" idx="1"/>
          </p:cNvCxnSpPr>
          <p:nvPr/>
        </p:nvCxnSpPr>
        <p:spPr>
          <a:xfrm flipV="1">
            <a:off x="4768527" y="2630454"/>
            <a:ext cx="2275394" cy="1506265"/>
          </a:xfrm>
          <a:prstGeom prst="line">
            <a:avLst/>
          </a:prstGeom>
          <a:ln w="69850">
            <a:solidFill>
              <a:srgbClr val="5AFB5A"/>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838FC3-19F4-CF4F-B62F-2C91D2D70267}"/>
              </a:ext>
            </a:extLst>
          </p:cNvPr>
          <p:cNvCxnSpPr>
            <a:stCxn id="20" idx="3"/>
            <a:endCxn id="21" idx="1"/>
          </p:cNvCxnSpPr>
          <p:nvPr/>
        </p:nvCxnSpPr>
        <p:spPr>
          <a:xfrm flipV="1">
            <a:off x="7043921" y="2630454"/>
            <a:ext cx="2275394" cy="1506265"/>
          </a:xfrm>
          <a:prstGeom prst="line">
            <a:avLst/>
          </a:prstGeom>
          <a:ln w="63500">
            <a:solidFill>
              <a:srgbClr val="342E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137352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860E58-57B9-9A49-A93F-84B8BFE4BA60}"/>
              </a:ext>
            </a:extLst>
          </p:cNvPr>
          <p:cNvGraphicFramePr>
            <a:graphicFrameLocks noChangeAspect="1"/>
          </p:cNvGraphicFramePr>
          <p:nvPr>
            <p:custDataLst>
              <p:tags r:id="rId2"/>
            </p:custDataLst>
            <p:extLst>
              <p:ext uri="{D42A27DB-BD31-4B8C-83A1-F6EECF244321}">
                <p14:modId xmlns:p14="http://schemas.microsoft.com/office/powerpoint/2010/main" val="109321338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593020"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2A860E58-57B9-9A49-A93F-84B8BFE4BA6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2" name="제목 1">
            <a:extLst>
              <a:ext uri="{FF2B5EF4-FFF2-40B4-BE49-F238E27FC236}">
                <a16:creationId xmlns:a16="http://schemas.microsoft.com/office/drawing/2014/main" id="{4A365C8E-446D-4E16-9A6E-DB1AB3C9AD80}"/>
              </a:ext>
            </a:extLst>
          </p:cNvPr>
          <p:cNvSpPr>
            <a:spLocks noGrp="1"/>
          </p:cNvSpPr>
          <p:nvPr>
            <p:ph type="title"/>
          </p:nvPr>
        </p:nvSpPr>
        <p:spPr/>
        <p:txBody>
          <a:bodyPr vert="horz"/>
          <a:lstStyle/>
          <a:p>
            <a:r>
              <a:rPr lang="en-US" altLang="ko-KR" dirty="0"/>
              <a:t>CHAIN</a:t>
            </a:r>
            <a:endParaRPr lang="ko-KR" altLang="en-US" dirty="0">
              <a:ln>
                <a:solidFill>
                  <a:schemeClr val="accent1">
                    <a:alpha val="0"/>
                  </a:schemeClr>
                </a:solidFill>
              </a:ln>
              <a:latin typeface="Montserrat Light" panose="00000400000000000000" pitchFamily="2" charset="0"/>
              <a:ea typeface="맑은 고딕" panose="020B0503020000020004" pitchFamily="50" charset="-127"/>
              <a:cs typeface="Calibri" panose="020F0502020204030204" pitchFamily="34" charset="0"/>
            </a:endParaRPr>
          </a:p>
        </p:txBody>
      </p:sp>
      <p:sp>
        <p:nvSpPr>
          <p:cNvPr id="159" name="자유형: 도형 158">
            <a:extLst>
              <a:ext uri="{FF2B5EF4-FFF2-40B4-BE49-F238E27FC236}">
                <a16:creationId xmlns:a16="http://schemas.microsoft.com/office/drawing/2014/main" id="{9430ADB8-47E2-409A-BDFC-9D25E5A88456}"/>
              </a:ext>
            </a:extLst>
          </p:cNvPr>
          <p:cNvSpPr/>
          <p:nvPr/>
        </p:nvSpPr>
        <p:spPr>
          <a:xfrm>
            <a:off x="2779424" y="4466260"/>
            <a:ext cx="6638576" cy="2681228"/>
          </a:xfrm>
          <a:custGeom>
            <a:avLst/>
            <a:gdLst>
              <a:gd name="connsiteX0" fmla="*/ 3319288 w 6638576"/>
              <a:gd name="connsiteY0" fmla="*/ 0 h 2681228"/>
              <a:gd name="connsiteX1" fmla="*/ 6596492 w 6638576"/>
              <a:gd name="connsiteY1" fmla="*/ 2525965 h 2681228"/>
              <a:gd name="connsiteX2" fmla="*/ 6638576 w 6638576"/>
              <a:gd name="connsiteY2" fmla="*/ 2681228 h 2681228"/>
              <a:gd name="connsiteX3" fmla="*/ 0 w 6638576"/>
              <a:gd name="connsiteY3" fmla="*/ 2681228 h 2681228"/>
              <a:gd name="connsiteX4" fmla="*/ 42085 w 6638576"/>
              <a:gd name="connsiteY4" fmla="*/ 2525965 h 2681228"/>
              <a:gd name="connsiteX5" fmla="*/ 3319288 w 6638576"/>
              <a:gd name="connsiteY5" fmla="*/ 0 h 2681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38576" h="2681228">
                <a:moveTo>
                  <a:pt x="3319288" y="0"/>
                </a:moveTo>
                <a:cubicBezTo>
                  <a:pt x="4859099" y="0"/>
                  <a:pt x="6162027" y="1062549"/>
                  <a:pt x="6596492" y="2525965"/>
                </a:cubicBezTo>
                <a:lnTo>
                  <a:pt x="6638576" y="2681228"/>
                </a:lnTo>
                <a:lnTo>
                  <a:pt x="0" y="2681228"/>
                </a:lnTo>
                <a:lnTo>
                  <a:pt x="42085" y="2525965"/>
                </a:lnTo>
                <a:cubicBezTo>
                  <a:pt x="476548" y="1062549"/>
                  <a:pt x="1779477" y="0"/>
                  <a:pt x="3319288"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7" name="자유형: 도형 156">
            <a:extLst>
              <a:ext uri="{FF2B5EF4-FFF2-40B4-BE49-F238E27FC236}">
                <a16:creationId xmlns:a16="http://schemas.microsoft.com/office/drawing/2014/main" id="{3FA3071E-CFCD-4200-8C7B-BAD5D26A60A1}"/>
              </a:ext>
            </a:extLst>
          </p:cNvPr>
          <p:cNvSpPr/>
          <p:nvPr/>
        </p:nvSpPr>
        <p:spPr>
          <a:xfrm>
            <a:off x="3017448" y="4703973"/>
            <a:ext cx="6162525" cy="2443515"/>
          </a:xfrm>
          <a:custGeom>
            <a:avLst/>
            <a:gdLst>
              <a:gd name="connsiteX0" fmla="*/ 3081263 w 6162525"/>
              <a:gd name="connsiteY0" fmla="*/ 0 h 2443515"/>
              <a:gd name="connsiteX1" fmla="*/ 6141768 w 6162525"/>
              <a:gd name="connsiteY1" fmla="*/ 2358942 h 2443515"/>
              <a:gd name="connsiteX2" fmla="*/ 6162525 w 6162525"/>
              <a:gd name="connsiteY2" fmla="*/ 2443515 h 2443515"/>
              <a:gd name="connsiteX3" fmla="*/ 0 w 6162525"/>
              <a:gd name="connsiteY3" fmla="*/ 2443515 h 2443515"/>
              <a:gd name="connsiteX4" fmla="*/ 20757 w 6162525"/>
              <a:gd name="connsiteY4" fmla="*/ 2358942 h 2443515"/>
              <a:gd name="connsiteX5" fmla="*/ 3081263 w 6162525"/>
              <a:gd name="connsiteY5" fmla="*/ 0 h 2443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62525" h="2443515">
                <a:moveTo>
                  <a:pt x="3081263" y="0"/>
                </a:moveTo>
                <a:cubicBezTo>
                  <a:pt x="4519257" y="0"/>
                  <a:pt x="5736032" y="992291"/>
                  <a:pt x="6141768" y="2358942"/>
                </a:cubicBezTo>
                <a:lnTo>
                  <a:pt x="6162525" y="2443515"/>
                </a:lnTo>
                <a:lnTo>
                  <a:pt x="0" y="2443515"/>
                </a:lnTo>
                <a:lnTo>
                  <a:pt x="20757" y="2358942"/>
                </a:lnTo>
                <a:cubicBezTo>
                  <a:pt x="426494" y="992291"/>
                  <a:pt x="1643269" y="0"/>
                  <a:pt x="3081263" y="0"/>
                </a:cubicBezTo>
                <a:close/>
              </a:path>
            </a:pathLst>
          </a:custGeom>
          <a:gradFill flip="none" rotWithShape="1">
            <a:gsLst>
              <a:gs pos="0">
                <a:srgbClr val="B34768">
                  <a:alpha val="22000"/>
                </a:srgbClr>
              </a:gs>
              <a:gs pos="100000">
                <a:srgbClr val="3E8E86">
                  <a:alpha val="24000"/>
                </a:srgbClr>
              </a:gs>
              <a:gs pos="58000">
                <a:srgbClr val="2B2D78">
                  <a:alpha val="6000"/>
                </a:srgbClr>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55" name="자유형: 도형 154">
            <a:extLst>
              <a:ext uri="{FF2B5EF4-FFF2-40B4-BE49-F238E27FC236}">
                <a16:creationId xmlns:a16="http://schemas.microsoft.com/office/drawing/2014/main" id="{E479F9E4-D999-4B87-9D4B-8A67292B63FF}"/>
              </a:ext>
            </a:extLst>
          </p:cNvPr>
          <p:cNvSpPr/>
          <p:nvPr/>
        </p:nvSpPr>
        <p:spPr>
          <a:xfrm>
            <a:off x="3330264" y="5020673"/>
            <a:ext cx="5536895" cy="2126815"/>
          </a:xfrm>
          <a:custGeom>
            <a:avLst/>
            <a:gdLst>
              <a:gd name="connsiteX0" fmla="*/ 2768447 w 5536895"/>
              <a:gd name="connsiteY0" fmla="*/ 0 h 2126815"/>
              <a:gd name="connsiteX1" fmla="*/ 5442656 w 5536895"/>
              <a:gd name="connsiteY1" fmla="*/ 1857061 h 2126815"/>
              <a:gd name="connsiteX2" fmla="*/ 5536895 w 5536895"/>
              <a:gd name="connsiteY2" fmla="*/ 2126815 h 2126815"/>
              <a:gd name="connsiteX3" fmla="*/ 0 w 5536895"/>
              <a:gd name="connsiteY3" fmla="*/ 2126815 h 2126815"/>
              <a:gd name="connsiteX4" fmla="*/ 94240 w 5536895"/>
              <a:gd name="connsiteY4" fmla="*/ 1857061 h 2126815"/>
              <a:gd name="connsiteX5" fmla="*/ 2768447 w 5536895"/>
              <a:gd name="connsiteY5" fmla="*/ 0 h 21268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536895" h="2126815">
                <a:moveTo>
                  <a:pt x="2768447" y="0"/>
                </a:moveTo>
                <a:cubicBezTo>
                  <a:pt x="3970612" y="0"/>
                  <a:pt x="5002065" y="765744"/>
                  <a:pt x="5442656" y="1857061"/>
                </a:cubicBezTo>
                <a:lnTo>
                  <a:pt x="5536895" y="2126815"/>
                </a:lnTo>
                <a:lnTo>
                  <a:pt x="0" y="2126815"/>
                </a:lnTo>
                <a:lnTo>
                  <a:pt x="94240" y="1857061"/>
                </a:lnTo>
                <a:cubicBezTo>
                  <a:pt x="534830" y="765744"/>
                  <a:pt x="1566282" y="0"/>
                  <a:pt x="2768447" y="0"/>
                </a:cubicBezTo>
                <a:close/>
              </a:path>
            </a:pathLst>
          </a:custGeom>
          <a:gradFill flip="none" rotWithShape="1">
            <a:gsLst>
              <a:gs pos="0">
                <a:srgbClr val="B34768">
                  <a:alpha val="18000"/>
                </a:srgbClr>
              </a:gs>
              <a:gs pos="100000">
                <a:srgbClr val="3E8E86">
                  <a:alpha val="45000"/>
                </a:srgbClr>
              </a:gs>
              <a:gs pos="58000">
                <a:srgbClr val="2B2D78">
                  <a:alpha val="39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8" name="자유형: 도형 7">
            <a:extLst>
              <a:ext uri="{FF2B5EF4-FFF2-40B4-BE49-F238E27FC236}">
                <a16:creationId xmlns:a16="http://schemas.microsoft.com/office/drawing/2014/main" id="{09B5C67C-A750-47BD-995F-F4A9973147B0}"/>
              </a:ext>
            </a:extLst>
          </p:cNvPr>
          <p:cNvSpPr/>
          <p:nvPr/>
        </p:nvSpPr>
        <p:spPr>
          <a:xfrm>
            <a:off x="3658314" y="5310123"/>
            <a:ext cx="4880794" cy="1837365"/>
          </a:xfrm>
          <a:custGeom>
            <a:avLst/>
            <a:gdLst>
              <a:gd name="connsiteX0" fmla="*/ 3178307 w 6356614"/>
              <a:gd name="connsiteY0" fmla="*/ 0 h 2392935"/>
              <a:gd name="connsiteX1" fmla="*/ 6255705 w 6356614"/>
              <a:gd name="connsiteY1" fmla="*/ 2108017 h 2392935"/>
              <a:gd name="connsiteX2" fmla="*/ 6356614 w 6356614"/>
              <a:gd name="connsiteY2" fmla="*/ 2392935 h 2392935"/>
              <a:gd name="connsiteX3" fmla="*/ 0 w 6356614"/>
              <a:gd name="connsiteY3" fmla="*/ 2392935 h 2392935"/>
              <a:gd name="connsiteX4" fmla="*/ 100909 w 6356614"/>
              <a:gd name="connsiteY4" fmla="*/ 2108017 h 2392935"/>
              <a:gd name="connsiteX5" fmla="*/ 3178307 w 6356614"/>
              <a:gd name="connsiteY5" fmla="*/ 0 h 2392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356614" h="2392935">
                <a:moveTo>
                  <a:pt x="3178307" y="0"/>
                </a:moveTo>
                <a:cubicBezTo>
                  <a:pt x="4561723" y="0"/>
                  <a:pt x="5748687" y="869224"/>
                  <a:pt x="6255705" y="2108017"/>
                </a:cubicBezTo>
                <a:lnTo>
                  <a:pt x="6356614" y="2392935"/>
                </a:lnTo>
                <a:lnTo>
                  <a:pt x="0" y="2392935"/>
                </a:lnTo>
                <a:lnTo>
                  <a:pt x="100909" y="2108017"/>
                </a:lnTo>
                <a:cubicBezTo>
                  <a:pt x="607928" y="869224"/>
                  <a:pt x="1794892" y="0"/>
                  <a:pt x="3178307" y="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9" name="자유형: 도형 8">
            <a:extLst>
              <a:ext uri="{FF2B5EF4-FFF2-40B4-BE49-F238E27FC236}">
                <a16:creationId xmlns:a16="http://schemas.microsoft.com/office/drawing/2014/main" id="{56CB4E73-5C9E-474E-B0F8-211B18861FE8}"/>
              </a:ext>
            </a:extLst>
          </p:cNvPr>
          <p:cNvSpPr/>
          <p:nvPr/>
        </p:nvSpPr>
        <p:spPr>
          <a:xfrm>
            <a:off x="4143527" y="5775314"/>
            <a:ext cx="849203" cy="838585"/>
          </a:xfrm>
          <a:custGeom>
            <a:avLst/>
            <a:gdLst>
              <a:gd name="connsiteX0" fmla="*/ 613446 w 959295"/>
              <a:gd name="connsiteY0" fmla="*/ 0 h 947300"/>
              <a:gd name="connsiteX1" fmla="*/ 663076 w 959295"/>
              <a:gd name="connsiteY1" fmla="*/ 15406 h 947300"/>
              <a:gd name="connsiteX2" fmla="*/ 959295 w 959295"/>
              <a:gd name="connsiteY2" fmla="*/ 462296 h 947300"/>
              <a:gd name="connsiteX3" fmla="*/ 474291 w 959295"/>
              <a:gd name="connsiteY3" fmla="*/ 947300 h 947300"/>
              <a:gd name="connsiteX4" fmla="*/ 27401 w 959295"/>
              <a:gd name="connsiteY4" fmla="*/ 651082 h 947300"/>
              <a:gd name="connsiteX5" fmla="*/ 0 w 959295"/>
              <a:gd name="connsiteY5" fmla="*/ 562810 h 947300"/>
              <a:gd name="connsiteX6" fmla="*/ 111683 w 959295"/>
              <a:gd name="connsiteY6" fmla="*/ 432738 h 947300"/>
              <a:gd name="connsiteX7" fmla="*/ 588974 w 959295"/>
              <a:gd name="connsiteY7" fmla="*/ 15786 h 947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9295" h="947300">
                <a:moveTo>
                  <a:pt x="613446" y="0"/>
                </a:moveTo>
                <a:lnTo>
                  <a:pt x="663076" y="15406"/>
                </a:lnTo>
                <a:cubicBezTo>
                  <a:pt x="837152" y="89034"/>
                  <a:pt x="959295" y="261401"/>
                  <a:pt x="959295" y="462296"/>
                </a:cubicBezTo>
                <a:cubicBezTo>
                  <a:pt x="959295" y="730156"/>
                  <a:pt x="742151" y="947300"/>
                  <a:pt x="474291" y="947300"/>
                </a:cubicBezTo>
                <a:cubicBezTo>
                  <a:pt x="273396" y="947300"/>
                  <a:pt x="101029" y="825157"/>
                  <a:pt x="27401" y="651082"/>
                </a:cubicBezTo>
                <a:lnTo>
                  <a:pt x="0" y="562810"/>
                </a:lnTo>
                <a:lnTo>
                  <a:pt x="111683" y="432738"/>
                </a:lnTo>
                <a:cubicBezTo>
                  <a:pt x="255575" y="276771"/>
                  <a:pt x="415593" y="136835"/>
                  <a:pt x="588974" y="15786"/>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1" name="타원 10">
            <a:extLst>
              <a:ext uri="{FF2B5EF4-FFF2-40B4-BE49-F238E27FC236}">
                <a16:creationId xmlns:a16="http://schemas.microsoft.com/office/drawing/2014/main" id="{F8BA0EDB-9A69-4F78-85DC-5977F555ABD3}"/>
              </a:ext>
            </a:extLst>
          </p:cNvPr>
          <p:cNvSpPr/>
          <p:nvPr/>
        </p:nvSpPr>
        <p:spPr>
          <a:xfrm>
            <a:off x="4960199" y="6450353"/>
            <a:ext cx="646115" cy="646115"/>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2" name="자유형: 도형 11">
            <a:extLst>
              <a:ext uri="{FF2B5EF4-FFF2-40B4-BE49-F238E27FC236}">
                <a16:creationId xmlns:a16="http://schemas.microsoft.com/office/drawing/2014/main" id="{EABE8D1A-05D6-45DB-9A79-CB1F0F90AD24}"/>
              </a:ext>
            </a:extLst>
          </p:cNvPr>
          <p:cNvSpPr/>
          <p:nvPr/>
        </p:nvSpPr>
        <p:spPr>
          <a:xfrm>
            <a:off x="7700225" y="6220958"/>
            <a:ext cx="755837" cy="846936"/>
          </a:xfrm>
          <a:custGeom>
            <a:avLst/>
            <a:gdLst>
              <a:gd name="connsiteX0" fmla="*/ 376241 w 853824"/>
              <a:gd name="connsiteY0" fmla="*/ 0 h 956734"/>
              <a:gd name="connsiteX1" fmla="*/ 426253 w 853824"/>
              <a:gd name="connsiteY1" fmla="*/ 58246 h 956734"/>
              <a:gd name="connsiteX2" fmla="*/ 770844 w 853824"/>
              <a:gd name="connsiteY2" fmla="*/ 599636 h 956734"/>
              <a:gd name="connsiteX3" fmla="*/ 853824 w 853824"/>
              <a:gd name="connsiteY3" fmla="*/ 783325 h 956734"/>
              <a:gd name="connsiteX4" fmla="*/ 827954 w 853824"/>
              <a:gd name="connsiteY4" fmla="*/ 814680 h 956734"/>
              <a:gd name="connsiteX5" fmla="*/ 485004 w 853824"/>
              <a:gd name="connsiteY5" fmla="*/ 956734 h 956734"/>
              <a:gd name="connsiteX6" fmla="*/ 0 w 853824"/>
              <a:gd name="connsiteY6" fmla="*/ 471730 h 956734"/>
              <a:gd name="connsiteX7" fmla="*/ 296219 w 853824"/>
              <a:gd name="connsiteY7" fmla="*/ 24840 h 9567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3824" h="956734">
                <a:moveTo>
                  <a:pt x="376241" y="0"/>
                </a:moveTo>
                <a:lnTo>
                  <a:pt x="426253" y="58246"/>
                </a:lnTo>
                <a:cubicBezTo>
                  <a:pt x="559086" y="224583"/>
                  <a:pt x="674871" y="405998"/>
                  <a:pt x="770844" y="599636"/>
                </a:cubicBezTo>
                <a:lnTo>
                  <a:pt x="853824" y="783325"/>
                </a:lnTo>
                <a:lnTo>
                  <a:pt x="827954" y="814680"/>
                </a:lnTo>
                <a:cubicBezTo>
                  <a:pt x="740185" y="902448"/>
                  <a:pt x="618934" y="956734"/>
                  <a:pt x="485004" y="956734"/>
                </a:cubicBezTo>
                <a:cubicBezTo>
                  <a:pt x="217144" y="956734"/>
                  <a:pt x="0" y="739590"/>
                  <a:pt x="0" y="471730"/>
                </a:cubicBezTo>
                <a:cubicBezTo>
                  <a:pt x="0" y="270835"/>
                  <a:pt x="122144" y="98468"/>
                  <a:pt x="296219" y="24840"/>
                </a:cubicBezTo>
                <a:close/>
              </a:path>
            </a:pathLst>
          </a:cu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3" name="타원 12">
            <a:extLst>
              <a:ext uri="{FF2B5EF4-FFF2-40B4-BE49-F238E27FC236}">
                <a16:creationId xmlns:a16="http://schemas.microsoft.com/office/drawing/2014/main" id="{427FD84A-7236-4F69-BF05-37483425C828}"/>
              </a:ext>
            </a:extLst>
          </p:cNvPr>
          <p:cNvSpPr/>
          <p:nvPr/>
        </p:nvSpPr>
        <p:spPr>
          <a:xfrm>
            <a:off x="6812611" y="5755806"/>
            <a:ext cx="449623" cy="449623"/>
          </a:xfrm>
          <a:prstGeom prst="ellipse">
            <a:avLst/>
          </a:prstGeom>
          <a:gradFill flip="none" rotWithShape="1">
            <a:gsLst>
              <a:gs pos="0">
                <a:srgbClr val="B34768">
                  <a:alpha val="40000"/>
                </a:srgbClr>
              </a:gs>
              <a:gs pos="100000">
                <a:srgbClr val="3E8E86">
                  <a:alpha val="65000"/>
                </a:srgbClr>
              </a:gs>
              <a:gs pos="58000">
                <a:srgbClr val="2B2D78">
                  <a:alpha val="5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ko-KR" altLang="en-US" dirty="0"/>
          </a:p>
        </p:txBody>
      </p:sp>
      <p:sp>
        <p:nvSpPr>
          <p:cNvPr id="14" name="타원 13">
            <a:extLst>
              <a:ext uri="{FF2B5EF4-FFF2-40B4-BE49-F238E27FC236}">
                <a16:creationId xmlns:a16="http://schemas.microsoft.com/office/drawing/2014/main" id="{D0BC0A89-9459-497F-9569-896E6BD64C5F}"/>
              </a:ext>
            </a:extLst>
          </p:cNvPr>
          <p:cNvSpPr/>
          <p:nvPr/>
        </p:nvSpPr>
        <p:spPr>
          <a:xfrm>
            <a:off x="8462431" y="6357997"/>
            <a:ext cx="184712" cy="184712"/>
          </a:xfrm>
          <a:prstGeom prst="ellipse">
            <a:avLst/>
          </a:prstGeom>
          <a:solidFill>
            <a:schemeClr val="accent3"/>
          </a:solidFill>
          <a:ln>
            <a:noFill/>
          </a:ln>
          <a:effectLst>
            <a:outerShdw blurRad="63500" sx="132000" sy="132000" algn="ctr" rotWithShape="0">
              <a:schemeClr val="bg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 name="타원 14">
            <a:extLst>
              <a:ext uri="{FF2B5EF4-FFF2-40B4-BE49-F238E27FC236}">
                <a16:creationId xmlns:a16="http://schemas.microsoft.com/office/drawing/2014/main" id="{D59A0079-1350-496E-915A-0BEF4A80B0AD}"/>
              </a:ext>
            </a:extLst>
          </p:cNvPr>
          <p:cNvSpPr/>
          <p:nvPr/>
        </p:nvSpPr>
        <p:spPr>
          <a:xfrm>
            <a:off x="8236023" y="5578451"/>
            <a:ext cx="184712" cy="184712"/>
          </a:xfrm>
          <a:prstGeom prst="ellipse">
            <a:avLst/>
          </a:prstGeom>
          <a:solidFill>
            <a:schemeClr val="accent2"/>
          </a:solidFill>
          <a:ln>
            <a:noFill/>
          </a:ln>
          <a:effectLst>
            <a:outerShdw blurRad="63500" sx="132000" sy="132000" algn="ctr" rotWithShape="0">
              <a:schemeClr val="tx2">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6" name="타원 15">
            <a:extLst>
              <a:ext uri="{FF2B5EF4-FFF2-40B4-BE49-F238E27FC236}">
                <a16:creationId xmlns:a16="http://schemas.microsoft.com/office/drawing/2014/main" id="{AC56F6F5-A62E-46FA-BABE-7E10E97A8E4A}"/>
              </a:ext>
            </a:extLst>
          </p:cNvPr>
          <p:cNvSpPr/>
          <p:nvPr/>
        </p:nvSpPr>
        <p:spPr>
          <a:xfrm>
            <a:off x="4086451" y="5722995"/>
            <a:ext cx="184712" cy="184712"/>
          </a:xfrm>
          <a:prstGeom prst="ellipse">
            <a:avLst/>
          </a:prstGeom>
          <a:solidFill>
            <a:schemeClr val="accent1"/>
          </a:solidFill>
          <a:ln>
            <a:noFill/>
          </a:ln>
          <a:effectLst>
            <a:outerShdw blurRad="63500" sx="132000" sy="132000" algn="ctr" rotWithShape="0">
              <a:schemeClr val="accent4">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7" name="타원 16">
            <a:extLst>
              <a:ext uri="{FF2B5EF4-FFF2-40B4-BE49-F238E27FC236}">
                <a16:creationId xmlns:a16="http://schemas.microsoft.com/office/drawing/2014/main" id="{11AE3B4F-F39C-476D-A550-D763FF143F51}"/>
              </a:ext>
            </a:extLst>
          </p:cNvPr>
          <p:cNvSpPr/>
          <p:nvPr/>
        </p:nvSpPr>
        <p:spPr>
          <a:xfrm>
            <a:off x="2924120" y="6479670"/>
            <a:ext cx="184712" cy="184712"/>
          </a:xfrm>
          <a:prstGeom prst="ellipse">
            <a:avLst/>
          </a:prstGeom>
          <a:solidFill>
            <a:schemeClr val="accent3"/>
          </a:solidFill>
          <a:ln>
            <a:noFill/>
          </a:ln>
          <a:effectLst>
            <a:outerShdw blurRad="63500" sx="132000" sy="132000" algn="ctr" rotWithShape="0">
              <a:schemeClr val="accent3">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8" name="타원 17">
            <a:extLst>
              <a:ext uri="{FF2B5EF4-FFF2-40B4-BE49-F238E27FC236}">
                <a16:creationId xmlns:a16="http://schemas.microsoft.com/office/drawing/2014/main" id="{8090F36D-D915-4434-B8C3-6EEB5C1D5968}"/>
              </a:ext>
            </a:extLst>
          </p:cNvPr>
          <p:cNvSpPr/>
          <p:nvPr/>
        </p:nvSpPr>
        <p:spPr>
          <a:xfrm>
            <a:off x="4776178" y="4924856"/>
            <a:ext cx="184712" cy="184712"/>
          </a:xfrm>
          <a:prstGeom prst="ellipse">
            <a:avLst/>
          </a:prstGeom>
          <a:solidFill>
            <a:schemeClr val="accent1"/>
          </a:solidFill>
          <a:ln>
            <a:noFill/>
          </a:ln>
          <a:effectLst>
            <a:outerShdw blurRad="63500" sx="132000" sy="132000" algn="ctr" rotWithShape="0">
              <a:schemeClr val="accent6">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000" dirty="0"/>
          </a:p>
        </p:txBody>
      </p:sp>
      <p:sp>
        <p:nvSpPr>
          <p:cNvPr id="150" name="타원 149">
            <a:extLst>
              <a:ext uri="{FF2B5EF4-FFF2-40B4-BE49-F238E27FC236}">
                <a16:creationId xmlns:a16="http://schemas.microsoft.com/office/drawing/2014/main" id="{2E149B08-7766-468D-82E7-C2E0A3A991DB}"/>
              </a:ext>
            </a:extLst>
          </p:cNvPr>
          <p:cNvSpPr/>
          <p:nvPr/>
        </p:nvSpPr>
        <p:spPr>
          <a:xfrm>
            <a:off x="557413" y="1950220"/>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rPr>
              <a:t>previousHash</a:t>
            </a:r>
            <a:endParaRPr lang="en-US" altLang="ko-KR" sz="400" dirty="0">
              <a:solidFill>
                <a:schemeClr val="bg1"/>
              </a:solidFill>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FFFF00"/>
                </a:highlight>
                <a:latin typeface="+mj-lt"/>
              </a:rPr>
              <a:t>hash</a:t>
            </a:r>
          </a:p>
          <a:p>
            <a:pPr algn="ctr"/>
            <a:endParaRPr lang="ko-KR" altLang="en-US" sz="400" dirty="0">
              <a:solidFill>
                <a:schemeClr val="bg1"/>
              </a:solidFill>
              <a:latin typeface="+mj-lt"/>
            </a:endParaRPr>
          </a:p>
        </p:txBody>
      </p:sp>
      <p:sp>
        <p:nvSpPr>
          <p:cNvPr id="19" name="타원 149">
            <a:extLst>
              <a:ext uri="{FF2B5EF4-FFF2-40B4-BE49-F238E27FC236}">
                <a16:creationId xmlns:a16="http://schemas.microsoft.com/office/drawing/2014/main" id="{2AEFCA5A-8B01-7940-8217-E5062108996B}"/>
              </a:ext>
            </a:extLst>
          </p:cNvPr>
          <p:cNvSpPr/>
          <p:nvPr/>
        </p:nvSpPr>
        <p:spPr>
          <a:xfrm>
            <a:off x="1853071" y="1950220"/>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FFFF00"/>
                </a:highlight>
              </a:rPr>
              <a:t>previousHash</a:t>
            </a:r>
            <a:endParaRPr lang="en-US" altLang="ko-KR" sz="400" dirty="0">
              <a:solidFill>
                <a:schemeClr val="bg1"/>
              </a:solidFill>
              <a:highlight>
                <a:srgbClr val="FF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FF00"/>
                </a:highlight>
                <a:latin typeface="+mj-lt"/>
              </a:rPr>
              <a:t>hash</a:t>
            </a:r>
          </a:p>
          <a:p>
            <a:pPr algn="ctr"/>
            <a:endParaRPr lang="ko-KR" altLang="en-US" sz="400" dirty="0">
              <a:solidFill>
                <a:schemeClr val="bg1"/>
              </a:solidFill>
              <a:latin typeface="+mj-lt"/>
            </a:endParaRPr>
          </a:p>
        </p:txBody>
      </p:sp>
      <p:sp>
        <p:nvSpPr>
          <p:cNvPr id="20" name="타원 149">
            <a:extLst>
              <a:ext uri="{FF2B5EF4-FFF2-40B4-BE49-F238E27FC236}">
                <a16:creationId xmlns:a16="http://schemas.microsoft.com/office/drawing/2014/main" id="{221AC1DD-F36F-A34B-941D-DB9F2AC24D17}"/>
              </a:ext>
            </a:extLst>
          </p:cNvPr>
          <p:cNvSpPr/>
          <p:nvPr/>
        </p:nvSpPr>
        <p:spPr>
          <a:xfrm>
            <a:off x="3148729" y="1950220"/>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FF00"/>
                </a:highlight>
              </a:rPr>
              <a:t>previousHash</a:t>
            </a:r>
            <a:endParaRPr lang="en-US" altLang="ko-KR" sz="400" dirty="0">
              <a:solidFill>
                <a:schemeClr val="bg1"/>
              </a:solidFill>
              <a:highlight>
                <a:srgbClr val="00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00FF"/>
                </a:highlight>
                <a:latin typeface="+mj-lt"/>
              </a:rPr>
              <a:t>hash</a:t>
            </a:r>
          </a:p>
          <a:p>
            <a:pPr algn="ctr"/>
            <a:endParaRPr lang="ko-KR" altLang="en-US" sz="400" dirty="0">
              <a:solidFill>
                <a:schemeClr val="bg1"/>
              </a:solidFill>
              <a:latin typeface="+mj-lt"/>
            </a:endParaRPr>
          </a:p>
        </p:txBody>
      </p:sp>
      <p:sp>
        <p:nvSpPr>
          <p:cNvPr id="21" name="타원 149">
            <a:extLst>
              <a:ext uri="{FF2B5EF4-FFF2-40B4-BE49-F238E27FC236}">
                <a16:creationId xmlns:a16="http://schemas.microsoft.com/office/drawing/2014/main" id="{90E315E4-5682-DA4A-B7C6-095C191B61E4}"/>
              </a:ext>
            </a:extLst>
          </p:cNvPr>
          <p:cNvSpPr/>
          <p:nvPr/>
        </p:nvSpPr>
        <p:spPr>
          <a:xfrm>
            <a:off x="4444388" y="1950220"/>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00FF"/>
                </a:highlight>
              </a:rPr>
              <a:t>previousHash</a:t>
            </a:r>
            <a:endParaRPr lang="en-US" altLang="ko-KR" sz="400" dirty="0">
              <a:solidFill>
                <a:schemeClr val="bg1"/>
              </a:solidFill>
              <a:highlight>
                <a:srgbClr val="0000FF"/>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latin typeface="+mj-lt"/>
              </a:rPr>
              <a:t>hash</a:t>
            </a:r>
          </a:p>
          <a:p>
            <a:pPr algn="ctr"/>
            <a:endParaRPr lang="ko-KR" altLang="en-US" sz="400" dirty="0">
              <a:solidFill>
                <a:schemeClr val="bg1"/>
              </a:solidFill>
              <a:latin typeface="+mj-lt"/>
            </a:endParaRPr>
          </a:p>
        </p:txBody>
      </p:sp>
      <p:cxnSp>
        <p:nvCxnSpPr>
          <p:cNvPr id="5" name="Straight Connector 4">
            <a:extLst>
              <a:ext uri="{FF2B5EF4-FFF2-40B4-BE49-F238E27FC236}">
                <a16:creationId xmlns:a16="http://schemas.microsoft.com/office/drawing/2014/main" id="{401C17EC-9C02-B246-A81F-667530BE977F}"/>
              </a:ext>
            </a:extLst>
          </p:cNvPr>
          <p:cNvCxnSpPr>
            <a:stCxn id="150" idx="3"/>
            <a:endCxn id="19" idx="1"/>
          </p:cNvCxnSpPr>
          <p:nvPr/>
        </p:nvCxnSpPr>
        <p:spPr>
          <a:xfrm flipV="1">
            <a:off x="965163" y="2166342"/>
            <a:ext cx="1295658" cy="761185"/>
          </a:xfrm>
          <a:prstGeom prst="line">
            <a:avLst/>
          </a:prstGeom>
          <a:ln w="666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B0D0DF0-4948-AD43-9324-DEECF352E84B}"/>
              </a:ext>
            </a:extLst>
          </p:cNvPr>
          <p:cNvCxnSpPr>
            <a:stCxn id="19" idx="3"/>
            <a:endCxn id="20" idx="1"/>
          </p:cNvCxnSpPr>
          <p:nvPr/>
        </p:nvCxnSpPr>
        <p:spPr>
          <a:xfrm flipV="1">
            <a:off x="2260821" y="2166342"/>
            <a:ext cx="1295658" cy="761185"/>
          </a:xfrm>
          <a:prstGeom prst="line">
            <a:avLst/>
          </a:prstGeom>
          <a:ln w="69850">
            <a:solidFill>
              <a:srgbClr val="5AFB5A"/>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9838FC3-19F4-CF4F-B62F-2C91D2D70267}"/>
              </a:ext>
            </a:extLst>
          </p:cNvPr>
          <p:cNvCxnSpPr>
            <a:stCxn id="20" idx="3"/>
            <a:endCxn id="21" idx="1"/>
          </p:cNvCxnSpPr>
          <p:nvPr/>
        </p:nvCxnSpPr>
        <p:spPr>
          <a:xfrm flipV="1">
            <a:off x="3556479" y="2166342"/>
            <a:ext cx="1295659" cy="761185"/>
          </a:xfrm>
          <a:prstGeom prst="line">
            <a:avLst/>
          </a:prstGeom>
          <a:ln w="63500">
            <a:solidFill>
              <a:srgbClr val="342EFF"/>
            </a:solidFill>
          </a:ln>
        </p:spPr>
        <p:style>
          <a:lnRef idx="1">
            <a:schemeClr val="accent1"/>
          </a:lnRef>
          <a:fillRef idx="0">
            <a:schemeClr val="accent1"/>
          </a:fillRef>
          <a:effectRef idx="0">
            <a:schemeClr val="accent1"/>
          </a:effectRef>
          <a:fontRef idx="minor">
            <a:schemeClr val="tx1"/>
          </a:fontRef>
        </p:style>
      </p:cxnSp>
      <p:sp>
        <p:nvSpPr>
          <p:cNvPr id="30" name="타원 149">
            <a:extLst>
              <a:ext uri="{FF2B5EF4-FFF2-40B4-BE49-F238E27FC236}">
                <a16:creationId xmlns:a16="http://schemas.microsoft.com/office/drawing/2014/main" id="{51B8DAD7-F471-6A41-9D1B-F85F7DE20F05}"/>
              </a:ext>
            </a:extLst>
          </p:cNvPr>
          <p:cNvSpPr/>
          <p:nvPr/>
        </p:nvSpPr>
        <p:spPr>
          <a:xfrm>
            <a:off x="449352" y="328849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rPr>
              <a:t>previousHash</a:t>
            </a:r>
            <a:endParaRPr lang="en-US" altLang="ko-KR" sz="400" dirty="0">
              <a:solidFill>
                <a:schemeClr val="bg1"/>
              </a:solidFill>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FFFF00"/>
                </a:highlight>
                <a:latin typeface="+mj-lt"/>
              </a:rPr>
              <a:t>hash</a:t>
            </a:r>
          </a:p>
          <a:p>
            <a:pPr algn="ctr"/>
            <a:endParaRPr lang="ko-KR" altLang="en-US" sz="400" dirty="0">
              <a:solidFill>
                <a:schemeClr val="bg1"/>
              </a:solidFill>
              <a:latin typeface="+mj-lt"/>
            </a:endParaRPr>
          </a:p>
        </p:txBody>
      </p:sp>
      <p:sp>
        <p:nvSpPr>
          <p:cNvPr id="31" name="타원 149">
            <a:extLst>
              <a:ext uri="{FF2B5EF4-FFF2-40B4-BE49-F238E27FC236}">
                <a16:creationId xmlns:a16="http://schemas.microsoft.com/office/drawing/2014/main" id="{9D1482D4-A4E2-DE46-9657-6F0D2B2E0C8C}"/>
              </a:ext>
            </a:extLst>
          </p:cNvPr>
          <p:cNvSpPr/>
          <p:nvPr/>
        </p:nvSpPr>
        <p:spPr>
          <a:xfrm>
            <a:off x="1745010" y="328849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FFFF00"/>
                </a:highlight>
              </a:rPr>
              <a:t>previousHash</a:t>
            </a:r>
            <a:endParaRPr lang="en-US" altLang="ko-KR" sz="400" dirty="0">
              <a:solidFill>
                <a:schemeClr val="bg1"/>
              </a:solidFill>
              <a:highlight>
                <a:srgbClr val="FF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FF00"/>
                </a:highlight>
                <a:latin typeface="+mj-lt"/>
              </a:rPr>
              <a:t>hash</a:t>
            </a:r>
          </a:p>
          <a:p>
            <a:pPr algn="ctr"/>
            <a:endParaRPr lang="ko-KR" altLang="en-US" sz="400" dirty="0">
              <a:solidFill>
                <a:schemeClr val="bg1"/>
              </a:solidFill>
              <a:latin typeface="+mj-lt"/>
            </a:endParaRPr>
          </a:p>
        </p:txBody>
      </p:sp>
      <p:sp>
        <p:nvSpPr>
          <p:cNvPr id="32" name="타원 149">
            <a:extLst>
              <a:ext uri="{FF2B5EF4-FFF2-40B4-BE49-F238E27FC236}">
                <a16:creationId xmlns:a16="http://schemas.microsoft.com/office/drawing/2014/main" id="{F75426E1-469D-F447-AB57-A73A6926B6B0}"/>
              </a:ext>
            </a:extLst>
          </p:cNvPr>
          <p:cNvSpPr/>
          <p:nvPr/>
        </p:nvSpPr>
        <p:spPr>
          <a:xfrm>
            <a:off x="3040668" y="328849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FF00"/>
                </a:highlight>
              </a:rPr>
              <a:t>previousHash</a:t>
            </a:r>
            <a:endParaRPr lang="en-US" altLang="ko-KR" sz="400" dirty="0">
              <a:solidFill>
                <a:schemeClr val="bg1"/>
              </a:solidFill>
              <a:highlight>
                <a:srgbClr val="00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00FF"/>
                </a:highlight>
                <a:latin typeface="+mj-lt"/>
              </a:rPr>
              <a:t>hash</a:t>
            </a:r>
          </a:p>
          <a:p>
            <a:pPr algn="ctr"/>
            <a:endParaRPr lang="ko-KR" altLang="en-US" sz="400" dirty="0">
              <a:solidFill>
                <a:schemeClr val="bg1"/>
              </a:solidFill>
              <a:latin typeface="+mj-lt"/>
            </a:endParaRPr>
          </a:p>
        </p:txBody>
      </p:sp>
      <p:sp>
        <p:nvSpPr>
          <p:cNvPr id="33" name="타원 149">
            <a:extLst>
              <a:ext uri="{FF2B5EF4-FFF2-40B4-BE49-F238E27FC236}">
                <a16:creationId xmlns:a16="http://schemas.microsoft.com/office/drawing/2014/main" id="{6C302606-09E6-1F45-A348-1387A17D86F3}"/>
              </a:ext>
            </a:extLst>
          </p:cNvPr>
          <p:cNvSpPr/>
          <p:nvPr/>
        </p:nvSpPr>
        <p:spPr>
          <a:xfrm>
            <a:off x="4336327" y="328849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00FF"/>
                </a:highlight>
              </a:rPr>
              <a:t>previousHash</a:t>
            </a:r>
            <a:endParaRPr lang="en-US" altLang="ko-KR" sz="400" dirty="0">
              <a:solidFill>
                <a:schemeClr val="bg1"/>
              </a:solidFill>
              <a:highlight>
                <a:srgbClr val="0000FF"/>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latin typeface="+mj-lt"/>
              </a:rPr>
              <a:t>hash</a:t>
            </a:r>
          </a:p>
          <a:p>
            <a:pPr algn="ctr"/>
            <a:endParaRPr lang="ko-KR" altLang="en-US" sz="400" dirty="0">
              <a:solidFill>
                <a:schemeClr val="bg1"/>
              </a:solidFill>
              <a:latin typeface="+mj-lt"/>
            </a:endParaRPr>
          </a:p>
        </p:txBody>
      </p:sp>
      <p:cxnSp>
        <p:nvCxnSpPr>
          <p:cNvPr id="34" name="Straight Connector 33">
            <a:extLst>
              <a:ext uri="{FF2B5EF4-FFF2-40B4-BE49-F238E27FC236}">
                <a16:creationId xmlns:a16="http://schemas.microsoft.com/office/drawing/2014/main" id="{5E23317B-7B49-4B45-B0FD-C25F93FF804D}"/>
              </a:ext>
            </a:extLst>
          </p:cNvPr>
          <p:cNvCxnSpPr>
            <a:stCxn id="30" idx="3"/>
            <a:endCxn id="31" idx="1"/>
          </p:cNvCxnSpPr>
          <p:nvPr/>
        </p:nvCxnSpPr>
        <p:spPr>
          <a:xfrm flipV="1">
            <a:off x="857102" y="3504613"/>
            <a:ext cx="1295658" cy="761185"/>
          </a:xfrm>
          <a:prstGeom prst="line">
            <a:avLst/>
          </a:prstGeom>
          <a:ln w="666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61F56D06-930B-8A48-A59C-72A8F849E95C}"/>
              </a:ext>
            </a:extLst>
          </p:cNvPr>
          <p:cNvCxnSpPr>
            <a:stCxn id="31" idx="3"/>
            <a:endCxn id="32" idx="1"/>
          </p:cNvCxnSpPr>
          <p:nvPr/>
        </p:nvCxnSpPr>
        <p:spPr>
          <a:xfrm flipV="1">
            <a:off x="2152760" y="3504613"/>
            <a:ext cx="1295658" cy="761185"/>
          </a:xfrm>
          <a:prstGeom prst="line">
            <a:avLst/>
          </a:prstGeom>
          <a:ln w="69850">
            <a:solidFill>
              <a:srgbClr val="5AFB5A"/>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9CF759C-D2A4-CF49-93F5-42C4AB3A5D3A}"/>
              </a:ext>
            </a:extLst>
          </p:cNvPr>
          <p:cNvCxnSpPr>
            <a:stCxn id="32" idx="3"/>
            <a:endCxn id="33" idx="1"/>
          </p:cNvCxnSpPr>
          <p:nvPr/>
        </p:nvCxnSpPr>
        <p:spPr>
          <a:xfrm flipV="1">
            <a:off x="3448418" y="3504613"/>
            <a:ext cx="1295659" cy="761185"/>
          </a:xfrm>
          <a:prstGeom prst="line">
            <a:avLst/>
          </a:prstGeom>
          <a:ln w="63500">
            <a:solidFill>
              <a:srgbClr val="342EFF"/>
            </a:solidFill>
          </a:ln>
        </p:spPr>
        <p:style>
          <a:lnRef idx="1">
            <a:schemeClr val="accent1"/>
          </a:lnRef>
          <a:fillRef idx="0">
            <a:schemeClr val="accent1"/>
          </a:fillRef>
          <a:effectRef idx="0">
            <a:schemeClr val="accent1"/>
          </a:effectRef>
          <a:fontRef idx="minor">
            <a:schemeClr val="tx1"/>
          </a:fontRef>
        </p:style>
      </p:cxnSp>
      <p:sp>
        <p:nvSpPr>
          <p:cNvPr id="37" name="타원 149">
            <a:extLst>
              <a:ext uri="{FF2B5EF4-FFF2-40B4-BE49-F238E27FC236}">
                <a16:creationId xmlns:a16="http://schemas.microsoft.com/office/drawing/2014/main" id="{15C752A5-14E2-E14C-8B5C-D9BB7C93A6FD}"/>
              </a:ext>
            </a:extLst>
          </p:cNvPr>
          <p:cNvSpPr/>
          <p:nvPr/>
        </p:nvSpPr>
        <p:spPr>
          <a:xfrm>
            <a:off x="6984312" y="1903086"/>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rPr>
              <a:t>previousHash</a:t>
            </a:r>
            <a:endParaRPr lang="en-US" altLang="ko-KR" sz="400" dirty="0">
              <a:solidFill>
                <a:schemeClr val="bg1"/>
              </a:solidFill>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FFFF00"/>
                </a:highlight>
                <a:latin typeface="+mj-lt"/>
              </a:rPr>
              <a:t>hash</a:t>
            </a:r>
          </a:p>
          <a:p>
            <a:pPr algn="ctr"/>
            <a:endParaRPr lang="ko-KR" altLang="en-US" sz="400" dirty="0">
              <a:solidFill>
                <a:schemeClr val="bg1"/>
              </a:solidFill>
              <a:latin typeface="+mj-lt"/>
            </a:endParaRPr>
          </a:p>
        </p:txBody>
      </p:sp>
      <p:sp>
        <p:nvSpPr>
          <p:cNvPr id="38" name="타원 149">
            <a:extLst>
              <a:ext uri="{FF2B5EF4-FFF2-40B4-BE49-F238E27FC236}">
                <a16:creationId xmlns:a16="http://schemas.microsoft.com/office/drawing/2014/main" id="{68F41B09-CAD1-C945-A3D8-D098118FE489}"/>
              </a:ext>
            </a:extLst>
          </p:cNvPr>
          <p:cNvSpPr/>
          <p:nvPr/>
        </p:nvSpPr>
        <p:spPr>
          <a:xfrm>
            <a:off x="8279970" y="1903086"/>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FFFF00"/>
                </a:highlight>
              </a:rPr>
              <a:t>previousHash</a:t>
            </a:r>
            <a:endParaRPr lang="en-US" altLang="ko-KR" sz="400" dirty="0">
              <a:solidFill>
                <a:schemeClr val="bg1"/>
              </a:solidFill>
              <a:highlight>
                <a:srgbClr val="FF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FF00"/>
                </a:highlight>
                <a:latin typeface="+mj-lt"/>
              </a:rPr>
              <a:t>hash</a:t>
            </a:r>
          </a:p>
          <a:p>
            <a:pPr algn="ctr"/>
            <a:endParaRPr lang="ko-KR" altLang="en-US" sz="400" dirty="0">
              <a:solidFill>
                <a:schemeClr val="bg1"/>
              </a:solidFill>
              <a:latin typeface="+mj-lt"/>
            </a:endParaRPr>
          </a:p>
        </p:txBody>
      </p:sp>
      <p:sp>
        <p:nvSpPr>
          <p:cNvPr id="39" name="타원 149">
            <a:extLst>
              <a:ext uri="{FF2B5EF4-FFF2-40B4-BE49-F238E27FC236}">
                <a16:creationId xmlns:a16="http://schemas.microsoft.com/office/drawing/2014/main" id="{09BB412A-4B1E-B04B-9548-0ECF2AA28ED2}"/>
              </a:ext>
            </a:extLst>
          </p:cNvPr>
          <p:cNvSpPr/>
          <p:nvPr/>
        </p:nvSpPr>
        <p:spPr>
          <a:xfrm>
            <a:off x="9575628" y="1903086"/>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FF00"/>
                </a:highlight>
              </a:rPr>
              <a:t>previousHash</a:t>
            </a:r>
            <a:endParaRPr lang="en-US" altLang="ko-KR" sz="400" dirty="0">
              <a:solidFill>
                <a:schemeClr val="bg1"/>
              </a:solidFill>
              <a:highlight>
                <a:srgbClr val="00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00FF"/>
                </a:highlight>
                <a:latin typeface="+mj-lt"/>
              </a:rPr>
              <a:t>hash</a:t>
            </a:r>
          </a:p>
          <a:p>
            <a:pPr algn="ctr"/>
            <a:endParaRPr lang="ko-KR" altLang="en-US" sz="400" dirty="0">
              <a:solidFill>
                <a:schemeClr val="bg1"/>
              </a:solidFill>
              <a:latin typeface="+mj-lt"/>
            </a:endParaRPr>
          </a:p>
        </p:txBody>
      </p:sp>
      <p:sp>
        <p:nvSpPr>
          <p:cNvPr id="40" name="타원 149">
            <a:extLst>
              <a:ext uri="{FF2B5EF4-FFF2-40B4-BE49-F238E27FC236}">
                <a16:creationId xmlns:a16="http://schemas.microsoft.com/office/drawing/2014/main" id="{5DE8AAE0-1BC2-A345-8175-BBA9CC0C0E85}"/>
              </a:ext>
            </a:extLst>
          </p:cNvPr>
          <p:cNvSpPr/>
          <p:nvPr/>
        </p:nvSpPr>
        <p:spPr>
          <a:xfrm>
            <a:off x="10871287" y="1903086"/>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00FF"/>
                </a:highlight>
              </a:rPr>
              <a:t>previousHash</a:t>
            </a:r>
            <a:endParaRPr lang="en-US" altLang="ko-KR" sz="400" dirty="0">
              <a:solidFill>
                <a:schemeClr val="bg1"/>
              </a:solidFill>
              <a:highlight>
                <a:srgbClr val="0000FF"/>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latin typeface="+mj-lt"/>
              </a:rPr>
              <a:t>hash</a:t>
            </a:r>
          </a:p>
          <a:p>
            <a:pPr algn="ctr"/>
            <a:endParaRPr lang="ko-KR" altLang="en-US" sz="400" dirty="0">
              <a:solidFill>
                <a:schemeClr val="bg1"/>
              </a:solidFill>
              <a:latin typeface="+mj-lt"/>
            </a:endParaRPr>
          </a:p>
        </p:txBody>
      </p:sp>
      <p:cxnSp>
        <p:nvCxnSpPr>
          <p:cNvPr id="41" name="Straight Connector 40">
            <a:extLst>
              <a:ext uri="{FF2B5EF4-FFF2-40B4-BE49-F238E27FC236}">
                <a16:creationId xmlns:a16="http://schemas.microsoft.com/office/drawing/2014/main" id="{71EF3707-061B-1647-9FD2-6DD65E78D678}"/>
              </a:ext>
            </a:extLst>
          </p:cNvPr>
          <p:cNvCxnSpPr>
            <a:stCxn id="37" idx="3"/>
            <a:endCxn id="38" idx="1"/>
          </p:cNvCxnSpPr>
          <p:nvPr/>
        </p:nvCxnSpPr>
        <p:spPr>
          <a:xfrm flipV="1">
            <a:off x="7392062" y="2119208"/>
            <a:ext cx="1295658" cy="761185"/>
          </a:xfrm>
          <a:prstGeom prst="line">
            <a:avLst/>
          </a:prstGeom>
          <a:ln w="666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1EF7783-E53B-3341-995D-F0AD4AB537F9}"/>
              </a:ext>
            </a:extLst>
          </p:cNvPr>
          <p:cNvCxnSpPr>
            <a:stCxn id="38" idx="3"/>
            <a:endCxn id="39" idx="1"/>
          </p:cNvCxnSpPr>
          <p:nvPr/>
        </p:nvCxnSpPr>
        <p:spPr>
          <a:xfrm flipV="1">
            <a:off x="8687720" y="2119208"/>
            <a:ext cx="1295658" cy="761185"/>
          </a:xfrm>
          <a:prstGeom prst="line">
            <a:avLst/>
          </a:prstGeom>
          <a:ln w="69850">
            <a:solidFill>
              <a:srgbClr val="5AFB5A"/>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8FAAA1B-5D55-6B46-892B-DD964E7902AB}"/>
              </a:ext>
            </a:extLst>
          </p:cNvPr>
          <p:cNvCxnSpPr>
            <a:stCxn id="39" idx="3"/>
            <a:endCxn id="40" idx="1"/>
          </p:cNvCxnSpPr>
          <p:nvPr/>
        </p:nvCxnSpPr>
        <p:spPr>
          <a:xfrm flipV="1">
            <a:off x="9983378" y="2119208"/>
            <a:ext cx="1295659" cy="761185"/>
          </a:xfrm>
          <a:prstGeom prst="line">
            <a:avLst/>
          </a:prstGeom>
          <a:ln w="63500">
            <a:solidFill>
              <a:srgbClr val="342EFF"/>
            </a:solidFill>
          </a:ln>
        </p:spPr>
        <p:style>
          <a:lnRef idx="1">
            <a:schemeClr val="accent1"/>
          </a:lnRef>
          <a:fillRef idx="0">
            <a:schemeClr val="accent1"/>
          </a:fillRef>
          <a:effectRef idx="0">
            <a:schemeClr val="accent1"/>
          </a:effectRef>
          <a:fontRef idx="minor">
            <a:schemeClr val="tx1"/>
          </a:fontRef>
        </p:style>
      </p:cxnSp>
      <p:sp>
        <p:nvSpPr>
          <p:cNvPr id="44" name="타원 149">
            <a:extLst>
              <a:ext uri="{FF2B5EF4-FFF2-40B4-BE49-F238E27FC236}">
                <a16:creationId xmlns:a16="http://schemas.microsoft.com/office/drawing/2014/main" id="{C581A4C7-9618-5C4E-BFB3-7E2DD624F747}"/>
              </a:ext>
            </a:extLst>
          </p:cNvPr>
          <p:cNvSpPr/>
          <p:nvPr/>
        </p:nvSpPr>
        <p:spPr>
          <a:xfrm>
            <a:off x="6984312" y="317550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rPr>
              <a:t>previousHash</a:t>
            </a:r>
            <a:endParaRPr lang="en-US" altLang="ko-KR" sz="400" dirty="0">
              <a:solidFill>
                <a:schemeClr val="bg1"/>
              </a:solidFill>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FFFF00"/>
                </a:highlight>
                <a:latin typeface="+mj-lt"/>
              </a:rPr>
              <a:t>hash</a:t>
            </a:r>
          </a:p>
          <a:p>
            <a:pPr algn="ctr"/>
            <a:endParaRPr lang="ko-KR" altLang="en-US" sz="400" dirty="0">
              <a:solidFill>
                <a:schemeClr val="bg1"/>
              </a:solidFill>
              <a:latin typeface="+mj-lt"/>
            </a:endParaRPr>
          </a:p>
        </p:txBody>
      </p:sp>
      <p:sp>
        <p:nvSpPr>
          <p:cNvPr id="45" name="타원 149">
            <a:extLst>
              <a:ext uri="{FF2B5EF4-FFF2-40B4-BE49-F238E27FC236}">
                <a16:creationId xmlns:a16="http://schemas.microsoft.com/office/drawing/2014/main" id="{C710DC17-7526-5C4C-87CA-C3ACDE37B969}"/>
              </a:ext>
            </a:extLst>
          </p:cNvPr>
          <p:cNvSpPr/>
          <p:nvPr/>
        </p:nvSpPr>
        <p:spPr>
          <a:xfrm>
            <a:off x="8279970" y="317550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FFFF00"/>
                </a:highlight>
              </a:rPr>
              <a:t>previousHash</a:t>
            </a:r>
            <a:endParaRPr lang="en-US" altLang="ko-KR" sz="400" dirty="0">
              <a:solidFill>
                <a:schemeClr val="bg1"/>
              </a:solidFill>
              <a:highlight>
                <a:srgbClr val="FF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FF00"/>
                </a:highlight>
                <a:latin typeface="+mj-lt"/>
              </a:rPr>
              <a:t>hash</a:t>
            </a:r>
          </a:p>
          <a:p>
            <a:pPr algn="ctr"/>
            <a:endParaRPr lang="ko-KR" altLang="en-US" sz="400" dirty="0">
              <a:solidFill>
                <a:schemeClr val="bg1"/>
              </a:solidFill>
              <a:latin typeface="+mj-lt"/>
            </a:endParaRPr>
          </a:p>
        </p:txBody>
      </p:sp>
      <p:sp>
        <p:nvSpPr>
          <p:cNvPr id="46" name="타원 149">
            <a:extLst>
              <a:ext uri="{FF2B5EF4-FFF2-40B4-BE49-F238E27FC236}">
                <a16:creationId xmlns:a16="http://schemas.microsoft.com/office/drawing/2014/main" id="{CFD78FDC-499F-454E-8DBA-FB89C63D7F6E}"/>
              </a:ext>
            </a:extLst>
          </p:cNvPr>
          <p:cNvSpPr/>
          <p:nvPr/>
        </p:nvSpPr>
        <p:spPr>
          <a:xfrm>
            <a:off x="9575628" y="317550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FF00"/>
                </a:highlight>
              </a:rPr>
              <a:t>previousHash</a:t>
            </a:r>
            <a:endParaRPr lang="en-US" altLang="ko-KR" sz="400" dirty="0">
              <a:solidFill>
                <a:schemeClr val="bg1"/>
              </a:solidFill>
              <a:highlight>
                <a:srgbClr val="00FF00"/>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highlight>
                  <a:srgbClr val="0000FF"/>
                </a:highlight>
                <a:latin typeface="+mj-lt"/>
              </a:rPr>
              <a:t>hash</a:t>
            </a:r>
          </a:p>
          <a:p>
            <a:pPr algn="ctr"/>
            <a:endParaRPr lang="ko-KR" altLang="en-US" sz="400" dirty="0">
              <a:solidFill>
                <a:schemeClr val="bg1"/>
              </a:solidFill>
              <a:latin typeface="+mj-lt"/>
            </a:endParaRPr>
          </a:p>
        </p:txBody>
      </p:sp>
      <p:sp>
        <p:nvSpPr>
          <p:cNvPr id="47" name="타원 149">
            <a:extLst>
              <a:ext uri="{FF2B5EF4-FFF2-40B4-BE49-F238E27FC236}">
                <a16:creationId xmlns:a16="http://schemas.microsoft.com/office/drawing/2014/main" id="{4BCA2338-4BE7-E643-BC05-75BD4535F685}"/>
              </a:ext>
            </a:extLst>
          </p:cNvPr>
          <p:cNvSpPr/>
          <p:nvPr/>
        </p:nvSpPr>
        <p:spPr>
          <a:xfrm>
            <a:off x="10871287" y="3175501"/>
            <a:ext cx="1031621" cy="977307"/>
          </a:xfrm>
          <a:prstGeom prst="cube">
            <a:avLst>
              <a:gd name="adj" fmla="val 22114"/>
            </a:avLst>
          </a:prstGeom>
          <a:solidFill>
            <a:schemeClr val="bg2">
              <a:lumMod val="90000"/>
              <a:lumOff val="10000"/>
            </a:schemeClr>
          </a:solidFill>
          <a:ln w="12700">
            <a:solidFill>
              <a:schemeClr val="bg1">
                <a:alpha val="50000"/>
              </a:schemeClr>
            </a:solidFill>
          </a:ln>
        </p:spPr>
        <p:txBody>
          <a:bodyPr vert="horz" wrap="square" lIns="91440" tIns="45720" rIns="91440" bIns="45720" numCol="1" anchor="ctr" anchorCtr="0" compatLnSpc="1">
            <a:prstTxWarp prst="textNoShape">
              <a:avLst/>
            </a:prstTxWarp>
          </a:bodyPr>
          <a:lstStyle/>
          <a:p>
            <a:pPr algn="ctr"/>
            <a:r>
              <a:rPr lang="en-US" altLang="ko-KR" sz="400" dirty="0" err="1">
                <a:solidFill>
                  <a:schemeClr val="bg1"/>
                </a:solidFill>
                <a:highlight>
                  <a:srgbClr val="0000FF"/>
                </a:highlight>
              </a:rPr>
              <a:t>previousHash</a:t>
            </a:r>
            <a:endParaRPr lang="en-US" altLang="ko-KR" sz="400" dirty="0">
              <a:solidFill>
                <a:schemeClr val="bg1"/>
              </a:solidFill>
              <a:highlight>
                <a:srgbClr val="0000FF"/>
              </a:highlight>
            </a:endParaRPr>
          </a:p>
          <a:p>
            <a:pPr algn="ctr"/>
            <a:endParaRPr lang="en-US" altLang="ko-KR" sz="400" dirty="0">
              <a:solidFill>
                <a:schemeClr val="bg1"/>
              </a:solidFill>
              <a:latin typeface="+mj-lt"/>
            </a:endParaRPr>
          </a:p>
          <a:p>
            <a:pPr algn="ctr"/>
            <a:r>
              <a:rPr lang="en-US" altLang="ko-KR" sz="400" dirty="0">
                <a:solidFill>
                  <a:schemeClr val="bg1"/>
                </a:solidFill>
                <a:latin typeface="+mj-lt"/>
              </a:rPr>
              <a:t>Data:[</a:t>
            </a:r>
            <a:br>
              <a:rPr lang="en-US" altLang="ko-KR" sz="400" dirty="0">
                <a:solidFill>
                  <a:schemeClr val="bg1"/>
                </a:solidFill>
                <a:latin typeface="+mj-lt"/>
              </a:rPr>
            </a:br>
            <a:r>
              <a:rPr lang="en-US" altLang="ko-KR" sz="400" dirty="0">
                <a:solidFill>
                  <a:schemeClr val="bg1"/>
                </a:solidFill>
                <a:latin typeface="+mj-lt"/>
              </a:rPr>
              <a:t>Salem pays Ahmed 10 coins</a:t>
            </a:r>
          </a:p>
          <a:p>
            <a:pPr algn="ctr"/>
            <a:r>
              <a:rPr lang="en-US" altLang="ko-KR" sz="400" dirty="0">
                <a:solidFill>
                  <a:schemeClr val="bg1"/>
                </a:solidFill>
                <a:latin typeface="+mj-lt"/>
              </a:rPr>
              <a:t>]</a:t>
            </a:r>
          </a:p>
          <a:p>
            <a:pPr algn="ctr"/>
            <a:endParaRPr lang="en-US" altLang="ko-KR" sz="400" dirty="0">
              <a:solidFill>
                <a:schemeClr val="bg1"/>
              </a:solidFill>
              <a:latin typeface="+mj-lt"/>
            </a:endParaRPr>
          </a:p>
          <a:p>
            <a:pPr algn="ctr"/>
            <a:r>
              <a:rPr lang="en-US" altLang="ko-KR" sz="400" dirty="0">
                <a:solidFill>
                  <a:schemeClr val="bg1"/>
                </a:solidFill>
                <a:latin typeface="+mj-lt"/>
              </a:rPr>
              <a:t>hash</a:t>
            </a:r>
          </a:p>
          <a:p>
            <a:pPr algn="ctr"/>
            <a:endParaRPr lang="ko-KR" altLang="en-US" sz="400" dirty="0">
              <a:solidFill>
                <a:schemeClr val="bg1"/>
              </a:solidFill>
              <a:latin typeface="+mj-lt"/>
            </a:endParaRPr>
          </a:p>
        </p:txBody>
      </p:sp>
      <p:cxnSp>
        <p:nvCxnSpPr>
          <p:cNvPr id="48" name="Straight Connector 47">
            <a:extLst>
              <a:ext uri="{FF2B5EF4-FFF2-40B4-BE49-F238E27FC236}">
                <a16:creationId xmlns:a16="http://schemas.microsoft.com/office/drawing/2014/main" id="{9104CEE8-CA2B-3047-9D4A-B9344CFB4C9A}"/>
              </a:ext>
            </a:extLst>
          </p:cNvPr>
          <p:cNvCxnSpPr>
            <a:stCxn id="44" idx="3"/>
            <a:endCxn id="45" idx="1"/>
          </p:cNvCxnSpPr>
          <p:nvPr/>
        </p:nvCxnSpPr>
        <p:spPr>
          <a:xfrm flipV="1">
            <a:off x="7392062" y="3391623"/>
            <a:ext cx="1295658" cy="761185"/>
          </a:xfrm>
          <a:prstGeom prst="line">
            <a:avLst/>
          </a:prstGeom>
          <a:ln w="666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067EDAB-BF1C-7043-AFEE-301CB70C55E6}"/>
              </a:ext>
            </a:extLst>
          </p:cNvPr>
          <p:cNvCxnSpPr>
            <a:stCxn id="45" idx="3"/>
            <a:endCxn id="46" idx="1"/>
          </p:cNvCxnSpPr>
          <p:nvPr/>
        </p:nvCxnSpPr>
        <p:spPr>
          <a:xfrm flipV="1">
            <a:off x="8687720" y="3391623"/>
            <a:ext cx="1295658" cy="761185"/>
          </a:xfrm>
          <a:prstGeom prst="line">
            <a:avLst/>
          </a:prstGeom>
          <a:ln w="69850">
            <a:solidFill>
              <a:srgbClr val="5AFB5A"/>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3693FD59-C6CE-DD48-84EB-39C798075F8F}"/>
              </a:ext>
            </a:extLst>
          </p:cNvPr>
          <p:cNvCxnSpPr>
            <a:stCxn id="46" idx="3"/>
            <a:endCxn id="47" idx="1"/>
          </p:cNvCxnSpPr>
          <p:nvPr/>
        </p:nvCxnSpPr>
        <p:spPr>
          <a:xfrm flipV="1">
            <a:off x="9983378" y="3391623"/>
            <a:ext cx="1295659" cy="761185"/>
          </a:xfrm>
          <a:prstGeom prst="line">
            <a:avLst/>
          </a:prstGeom>
          <a:ln w="63500">
            <a:solidFill>
              <a:srgbClr val="342E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5765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420A43-B42E-1C4E-B840-102B1E1B6B99}"/>
              </a:ext>
            </a:extLst>
          </p:cNvPr>
          <p:cNvGraphicFramePr>
            <a:graphicFrameLocks noChangeAspect="1"/>
          </p:cNvGraphicFramePr>
          <p:nvPr>
            <p:custDataLst>
              <p:tags r:id="rId2"/>
            </p:custDataLst>
            <p:extLst>
              <p:ext uri="{D42A27DB-BD31-4B8C-83A1-F6EECF244321}">
                <p14:modId xmlns:p14="http://schemas.microsoft.com/office/powerpoint/2010/main" val="87250764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145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9" name="Graphic 8" descr="Social network outline">
            <a:extLst>
              <a:ext uri="{FF2B5EF4-FFF2-40B4-BE49-F238E27FC236}">
                <a16:creationId xmlns:a16="http://schemas.microsoft.com/office/drawing/2014/main" id="{CCD88AC4-56AB-F941-AE7F-26F46B4E84E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95397" y="216936"/>
            <a:ext cx="6424128" cy="6424128"/>
          </a:xfrm>
          <a:prstGeom prst="rect">
            <a:avLst/>
          </a:prstGeom>
        </p:spPr>
      </p:pic>
      <p:sp>
        <p:nvSpPr>
          <p:cNvPr id="14" name="Oval 13">
            <a:extLst>
              <a:ext uri="{FF2B5EF4-FFF2-40B4-BE49-F238E27FC236}">
                <a16:creationId xmlns:a16="http://schemas.microsoft.com/office/drawing/2014/main" id="{AABEDD43-F1DF-DD4C-BBA6-72B113576A18}"/>
              </a:ext>
            </a:extLst>
          </p:cNvPr>
          <p:cNvSpPr/>
          <p:nvPr/>
        </p:nvSpPr>
        <p:spPr>
          <a:xfrm>
            <a:off x="8041186" y="3029866"/>
            <a:ext cx="1401263" cy="1401263"/>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C1B1EF13-6859-974A-8613-F75795B39596}"/>
              </a:ext>
            </a:extLst>
          </p:cNvPr>
          <p:cNvSpPr/>
          <p:nvPr/>
        </p:nvSpPr>
        <p:spPr>
          <a:xfrm>
            <a:off x="8041185" y="3029866"/>
            <a:ext cx="1401263" cy="1401263"/>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Graphic 12" descr="Document outline">
            <a:extLst>
              <a:ext uri="{FF2B5EF4-FFF2-40B4-BE49-F238E27FC236}">
                <a16:creationId xmlns:a16="http://schemas.microsoft.com/office/drawing/2014/main" id="{BB8554DA-F4B8-DD42-92C6-87214414FB3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389387" y="3379476"/>
            <a:ext cx="702041" cy="702041"/>
          </a:xfrm>
          <a:prstGeom prst="rect">
            <a:avLst/>
          </a:prstGeom>
        </p:spPr>
      </p:pic>
      <p:sp>
        <p:nvSpPr>
          <p:cNvPr id="16" name="Title 1">
            <a:extLst>
              <a:ext uri="{FF2B5EF4-FFF2-40B4-BE49-F238E27FC236}">
                <a16:creationId xmlns:a16="http://schemas.microsoft.com/office/drawing/2014/main" id="{B38A68DF-CA55-3746-B13B-A22B74181EF1}"/>
              </a:ext>
            </a:extLst>
          </p:cNvPr>
          <p:cNvSpPr txBox="1">
            <a:spLocks/>
          </p:cNvSpPr>
          <p:nvPr/>
        </p:nvSpPr>
        <p:spPr>
          <a:xfrm>
            <a:off x="747009" y="718143"/>
            <a:ext cx="10397241" cy="977307"/>
          </a:xfrm>
          <a:prstGeom prst="rect">
            <a:avLst/>
          </a:prstGeom>
        </p:spPr>
        <p:txBody>
          <a:bodyPr vert="horz" lIns="91440" tIns="45720" rIns="91440" bIns="45720" rtlCol="0" anchor="t">
            <a:normAutofit/>
          </a:bodyPr>
          <a:lstStyle>
            <a:lvl1pPr algn="l" defTabSz="914400" rtl="0" eaLnBrk="1" latinLnBrk="1" hangingPunct="1">
              <a:lnSpc>
                <a:spcPct val="100000"/>
              </a:lnSpc>
              <a:spcBef>
                <a:spcPct val="0"/>
              </a:spcBef>
              <a:buNone/>
              <a:defRPr sz="3200" kern="1200" spc="300">
                <a:solidFill>
                  <a:schemeClr val="bg1"/>
                </a:solidFill>
                <a:latin typeface="+mj-lt"/>
                <a:ea typeface="+mj-ea"/>
                <a:cs typeface="+mj-cs"/>
              </a:defRPr>
            </a:lvl1pPr>
          </a:lstStyle>
          <a:p>
            <a:r>
              <a:rPr lang="en-US"/>
              <a:t>CENTRALAZATION</a:t>
            </a:r>
            <a:endParaRPr lang="en-US" dirty="0"/>
          </a:p>
        </p:txBody>
      </p:sp>
    </p:spTree>
    <p:extLst>
      <p:ext uri="{BB962C8B-B14F-4D97-AF65-F5344CB8AC3E}">
        <p14:creationId xmlns:p14="http://schemas.microsoft.com/office/powerpoint/2010/main" val="29756063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1"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par>
                                <p:cTn id="13" presetID="10"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1"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8420A43-B42E-1C4E-B840-102B1E1B6B9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82477"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F8420A43-B42E-1C4E-B840-102B1E1B6B99}"/>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6" name="Title 1">
            <a:extLst>
              <a:ext uri="{FF2B5EF4-FFF2-40B4-BE49-F238E27FC236}">
                <a16:creationId xmlns:a16="http://schemas.microsoft.com/office/drawing/2014/main" id="{B38A68DF-CA55-3746-B13B-A22B74181EF1}"/>
              </a:ext>
            </a:extLst>
          </p:cNvPr>
          <p:cNvSpPr txBox="1">
            <a:spLocks/>
          </p:cNvSpPr>
          <p:nvPr/>
        </p:nvSpPr>
        <p:spPr>
          <a:xfrm>
            <a:off x="1430594" y="718143"/>
            <a:ext cx="9713656" cy="977307"/>
          </a:xfrm>
          <a:prstGeom prst="rect">
            <a:avLst/>
          </a:prstGeom>
        </p:spPr>
        <p:txBody>
          <a:bodyPr vert="horz" lIns="91440" tIns="45720" rIns="91440" bIns="45720" rtlCol="0" anchor="t">
            <a:normAutofit/>
          </a:bodyPr>
          <a:lstStyle>
            <a:lvl1pPr algn="l" defTabSz="914400" rtl="0" eaLnBrk="1" latinLnBrk="1" hangingPunct="1">
              <a:lnSpc>
                <a:spcPct val="100000"/>
              </a:lnSpc>
              <a:spcBef>
                <a:spcPct val="0"/>
              </a:spcBef>
              <a:buNone/>
              <a:defRPr sz="3200" kern="1200" spc="300">
                <a:solidFill>
                  <a:schemeClr val="bg1"/>
                </a:solidFill>
                <a:latin typeface="+mj-lt"/>
                <a:ea typeface="+mj-ea"/>
                <a:cs typeface="+mj-cs"/>
              </a:defRPr>
            </a:lvl1pPr>
          </a:lstStyle>
          <a:p>
            <a:r>
              <a:rPr lang="en-US" dirty="0"/>
              <a:t>CENTRALAZATION</a:t>
            </a:r>
          </a:p>
        </p:txBody>
      </p:sp>
      <p:sp>
        <p:nvSpPr>
          <p:cNvPr id="8" name="Title 1">
            <a:extLst>
              <a:ext uri="{FF2B5EF4-FFF2-40B4-BE49-F238E27FC236}">
                <a16:creationId xmlns:a16="http://schemas.microsoft.com/office/drawing/2014/main" id="{554ACD57-57F2-9441-911A-06D1B721EDF5}"/>
              </a:ext>
            </a:extLst>
          </p:cNvPr>
          <p:cNvSpPr txBox="1">
            <a:spLocks/>
          </p:cNvSpPr>
          <p:nvPr/>
        </p:nvSpPr>
        <p:spPr>
          <a:xfrm>
            <a:off x="747009" y="718142"/>
            <a:ext cx="3515276" cy="977307"/>
          </a:xfrm>
          <a:prstGeom prst="rect">
            <a:avLst/>
          </a:prstGeom>
        </p:spPr>
        <p:txBody>
          <a:bodyPr vert="horz" lIns="91440" tIns="45720" rIns="91440" bIns="45720" rtlCol="0" anchor="t">
            <a:normAutofit/>
          </a:bodyPr>
          <a:lstStyle>
            <a:lvl1pPr algn="l" defTabSz="914400" rtl="0" eaLnBrk="1" latinLnBrk="1" hangingPunct="1">
              <a:lnSpc>
                <a:spcPct val="100000"/>
              </a:lnSpc>
              <a:spcBef>
                <a:spcPct val="0"/>
              </a:spcBef>
              <a:buNone/>
              <a:defRPr sz="3200" kern="1200" spc="300">
                <a:solidFill>
                  <a:schemeClr val="bg1"/>
                </a:solidFill>
                <a:latin typeface="+mj-lt"/>
                <a:ea typeface="+mj-ea"/>
                <a:cs typeface="+mj-cs"/>
              </a:defRPr>
            </a:lvl1pPr>
          </a:lstStyle>
          <a:p>
            <a:r>
              <a:rPr lang="en-US" dirty="0"/>
              <a:t>DE</a:t>
            </a:r>
          </a:p>
        </p:txBody>
      </p:sp>
      <p:pic>
        <p:nvPicPr>
          <p:cNvPr id="10" name="Graphic 9" descr="Connections outline">
            <a:extLst>
              <a:ext uri="{FF2B5EF4-FFF2-40B4-BE49-F238E27FC236}">
                <a16:creationId xmlns:a16="http://schemas.microsoft.com/office/drawing/2014/main" id="{F8A780F8-3E55-D84D-BF40-5C96D749DA4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96000" y="888624"/>
            <a:ext cx="5574169" cy="5574169"/>
          </a:xfrm>
          <a:prstGeom prst="rect">
            <a:avLst/>
          </a:prstGeom>
        </p:spPr>
      </p:pic>
      <p:sp>
        <p:nvSpPr>
          <p:cNvPr id="11" name="Oval 10">
            <a:extLst>
              <a:ext uri="{FF2B5EF4-FFF2-40B4-BE49-F238E27FC236}">
                <a16:creationId xmlns:a16="http://schemas.microsoft.com/office/drawing/2014/main" id="{31504BA0-1780-9B4D-B058-0763CDC92D94}"/>
              </a:ext>
            </a:extLst>
          </p:cNvPr>
          <p:cNvSpPr/>
          <p:nvPr/>
        </p:nvSpPr>
        <p:spPr>
          <a:xfrm>
            <a:off x="6491844" y="2808557"/>
            <a:ext cx="1223406" cy="1223406"/>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D53DDA9A-04A5-FE4B-91CA-69D4D54CCD88}"/>
              </a:ext>
            </a:extLst>
          </p:cNvPr>
          <p:cNvSpPr/>
          <p:nvPr/>
        </p:nvSpPr>
        <p:spPr>
          <a:xfrm>
            <a:off x="6491844" y="2808557"/>
            <a:ext cx="1223406" cy="1223406"/>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raphic 16" descr="Document outline">
            <a:extLst>
              <a:ext uri="{FF2B5EF4-FFF2-40B4-BE49-F238E27FC236}">
                <a16:creationId xmlns:a16="http://schemas.microsoft.com/office/drawing/2014/main" id="{C4784FD8-6AA9-FB4F-B89D-9F26B2003993}"/>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790482" y="3120393"/>
            <a:ext cx="612933" cy="612933"/>
          </a:xfrm>
          <a:prstGeom prst="rect">
            <a:avLst/>
          </a:prstGeom>
        </p:spPr>
      </p:pic>
      <p:sp>
        <p:nvSpPr>
          <p:cNvPr id="18" name="Oval 17">
            <a:extLst>
              <a:ext uri="{FF2B5EF4-FFF2-40B4-BE49-F238E27FC236}">
                <a16:creationId xmlns:a16="http://schemas.microsoft.com/office/drawing/2014/main" id="{65852284-4C7E-8F44-A4D3-C58FB3D301A6}"/>
              </a:ext>
            </a:extLst>
          </p:cNvPr>
          <p:cNvSpPr/>
          <p:nvPr/>
        </p:nvSpPr>
        <p:spPr>
          <a:xfrm>
            <a:off x="9702076" y="1536700"/>
            <a:ext cx="1213575" cy="1213575"/>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11EB0818-4632-3342-95C7-503503B55B66}"/>
              </a:ext>
            </a:extLst>
          </p:cNvPr>
          <p:cNvSpPr/>
          <p:nvPr/>
        </p:nvSpPr>
        <p:spPr>
          <a:xfrm>
            <a:off x="9702076" y="1536700"/>
            <a:ext cx="1213575" cy="1213575"/>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Graphic 19" descr="Document outline">
            <a:extLst>
              <a:ext uri="{FF2B5EF4-FFF2-40B4-BE49-F238E27FC236}">
                <a16:creationId xmlns:a16="http://schemas.microsoft.com/office/drawing/2014/main" id="{DD46781F-FD0A-D841-AF9E-940B388958C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04859" y="1839483"/>
            <a:ext cx="608008" cy="608008"/>
          </a:xfrm>
          <a:prstGeom prst="rect">
            <a:avLst/>
          </a:prstGeom>
        </p:spPr>
      </p:pic>
      <p:sp>
        <p:nvSpPr>
          <p:cNvPr id="21" name="Oval 20">
            <a:extLst>
              <a:ext uri="{FF2B5EF4-FFF2-40B4-BE49-F238E27FC236}">
                <a16:creationId xmlns:a16="http://schemas.microsoft.com/office/drawing/2014/main" id="{B5850F28-8A43-4B43-BFAD-EA9C8F37CE74}"/>
              </a:ext>
            </a:extLst>
          </p:cNvPr>
          <p:cNvSpPr/>
          <p:nvPr/>
        </p:nvSpPr>
        <p:spPr>
          <a:xfrm>
            <a:off x="8335222" y="3682060"/>
            <a:ext cx="1500481" cy="1500481"/>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59374226-6CFD-C44D-83A1-922464C4496D}"/>
              </a:ext>
            </a:extLst>
          </p:cNvPr>
          <p:cNvSpPr/>
          <p:nvPr/>
        </p:nvSpPr>
        <p:spPr>
          <a:xfrm>
            <a:off x="8335222" y="3682060"/>
            <a:ext cx="1500481" cy="1500481"/>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Document outline">
            <a:extLst>
              <a:ext uri="{FF2B5EF4-FFF2-40B4-BE49-F238E27FC236}">
                <a16:creationId xmlns:a16="http://schemas.microsoft.com/office/drawing/2014/main" id="{4E9C8384-4877-4B4A-9E7E-4AB28D90960E}"/>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09587" y="4056425"/>
            <a:ext cx="751750" cy="751750"/>
          </a:xfrm>
          <a:prstGeom prst="rect">
            <a:avLst/>
          </a:prstGeom>
        </p:spPr>
      </p:pic>
      <p:sp>
        <p:nvSpPr>
          <p:cNvPr id="24" name="Oval 23">
            <a:extLst>
              <a:ext uri="{FF2B5EF4-FFF2-40B4-BE49-F238E27FC236}">
                <a16:creationId xmlns:a16="http://schemas.microsoft.com/office/drawing/2014/main" id="{3B9E2ADA-D826-BE4C-AF94-CF90358D843E}"/>
              </a:ext>
            </a:extLst>
          </p:cNvPr>
          <p:cNvSpPr/>
          <p:nvPr/>
        </p:nvSpPr>
        <p:spPr>
          <a:xfrm>
            <a:off x="10545405" y="3286613"/>
            <a:ext cx="710459" cy="710459"/>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B5BF0800-2256-B043-935A-E6871D3787C2}"/>
              </a:ext>
            </a:extLst>
          </p:cNvPr>
          <p:cNvSpPr/>
          <p:nvPr/>
        </p:nvSpPr>
        <p:spPr>
          <a:xfrm>
            <a:off x="10545405" y="3286613"/>
            <a:ext cx="710459" cy="710459"/>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Graphic 25" descr="Document outline">
            <a:extLst>
              <a:ext uri="{FF2B5EF4-FFF2-40B4-BE49-F238E27FC236}">
                <a16:creationId xmlns:a16="http://schemas.microsoft.com/office/drawing/2014/main" id="{6F06C12E-CA61-8745-A47D-B4047CED4B9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722662" y="3463870"/>
            <a:ext cx="355944" cy="355944"/>
          </a:xfrm>
          <a:prstGeom prst="rect">
            <a:avLst/>
          </a:prstGeom>
        </p:spPr>
      </p:pic>
      <p:sp>
        <p:nvSpPr>
          <p:cNvPr id="27" name="Oval 26">
            <a:extLst>
              <a:ext uri="{FF2B5EF4-FFF2-40B4-BE49-F238E27FC236}">
                <a16:creationId xmlns:a16="http://schemas.microsoft.com/office/drawing/2014/main" id="{1E06868D-9F16-AB48-B9AD-5858BD628A7E}"/>
              </a:ext>
            </a:extLst>
          </p:cNvPr>
          <p:cNvSpPr/>
          <p:nvPr/>
        </p:nvSpPr>
        <p:spPr>
          <a:xfrm>
            <a:off x="7080045" y="5068646"/>
            <a:ext cx="725453" cy="725453"/>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Oval 27">
            <a:extLst>
              <a:ext uri="{FF2B5EF4-FFF2-40B4-BE49-F238E27FC236}">
                <a16:creationId xmlns:a16="http://schemas.microsoft.com/office/drawing/2014/main" id="{ECB495C3-BBB3-394C-8BDD-D0F007D8DE2F}"/>
              </a:ext>
            </a:extLst>
          </p:cNvPr>
          <p:cNvSpPr/>
          <p:nvPr/>
        </p:nvSpPr>
        <p:spPr>
          <a:xfrm>
            <a:off x="7080045" y="5068646"/>
            <a:ext cx="725453" cy="725453"/>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Graphic 28" descr="Document outline">
            <a:extLst>
              <a:ext uri="{FF2B5EF4-FFF2-40B4-BE49-F238E27FC236}">
                <a16:creationId xmlns:a16="http://schemas.microsoft.com/office/drawing/2014/main" id="{C6F7AF54-977D-574C-8231-7B707EB6789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61043" y="5249644"/>
            <a:ext cx="363456" cy="363456"/>
          </a:xfrm>
          <a:prstGeom prst="rect">
            <a:avLst/>
          </a:prstGeom>
        </p:spPr>
      </p:pic>
      <p:sp>
        <p:nvSpPr>
          <p:cNvPr id="30" name="Oval 29">
            <a:extLst>
              <a:ext uri="{FF2B5EF4-FFF2-40B4-BE49-F238E27FC236}">
                <a16:creationId xmlns:a16="http://schemas.microsoft.com/office/drawing/2014/main" id="{9D7B4879-F926-844F-AAB2-490CD25101FA}"/>
              </a:ext>
            </a:extLst>
          </p:cNvPr>
          <p:cNvSpPr/>
          <p:nvPr/>
        </p:nvSpPr>
        <p:spPr>
          <a:xfrm>
            <a:off x="8244330" y="1591050"/>
            <a:ext cx="725453" cy="725453"/>
          </a:xfrm>
          <a:prstGeom prst="ellipse">
            <a:avLst/>
          </a:prstGeom>
          <a:solidFill>
            <a:schemeClr val="accent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Oval 30">
            <a:extLst>
              <a:ext uri="{FF2B5EF4-FFF2-40B4-BE49-F238E27FC236}">
                <a16:creationId xmlns:a16="http://schemas.microsoft.com/office/drawing/2014/main" id="{320539EA-44D5-2A4A-B974-92E43B5C2D71}"/>
              </a:ext>
            </a:extLst>
          </p:cNvPr>
          <p:cNvSpPr/>
          <p:nvPr/>
        </p:nvSpPr>
        <p:spPr>
          <a:xfrm>
            <a:off x="8244330" y="1591050"/>
            <a:ext cx="725453" cy="725453"/>
          </a:xfrm>
          <a:prstGeom prst="ellipse">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2" name="Graphic 31" descr="Document outline">
            <a:extLst>
              <a:ext uri="{FF2B5EF4-FFF2-40B4-BE49-F238E27FC236}">
                <a16:creationId xmlns:a16="http://schemas.microsoft.com/office/drawing/2014/main" id="{9CDF10A3-F5B0-C149-A7BB-113F5302F8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25328" y="1772048"/>
            <a:ext cx="363456" cy="363456"/>
          </a:xfrm>
          <a:prstGeom prst="rect">
            <a:avLst/>
          </a:prstGeom>
        </p:spPr>
      </p:pic>
    </p:spTree>
    <p:extLst>
      <p:ext uri="{BB962C8B-B14F-4D97-AF65-F5344CB8AC3E}">
        <p14:creationId xmlns:p14="http://schemas.microsoft.com/office/powerpoint/2010/main" val="1995815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8"/>
                                        </p:tgtEl>
                                        <p:attrNameLst>
                                          <p:attrName>style.visibility</p:attrName>
                                        </p:attrNameLst>
                                      </p:cBhvr>
                                      <p:to>
                                        <p:strVal val="visible"/>
                                      </p:to>
                                    </p:set>
                                    <p:animEffect transition="in" filter="fade">
                                      <p:cBhvr>
                                        <p:cTn id="15" dur="500"/>
                                        <p:tgtEl>
                                          <p:spTgt spid="1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4"/>
                                        </p:tgtEl>
                                        <p:attrNameLst>
                                          <p:attrName>style.visibility</p:attrName>
                                        </p:attrNameLst>
                                      </p:cBhvr>
                                      <p:to>
                                        <p:strVal val="visible"/>
                                      </p:to>
                                    </p:set>
                                    <p:animEffect transition="in" filter="fade">
                                      <p:cBhvr>
                                        <p:cTn id="21" dur="500"/>
                                        <p:tgtEl>
                                          <p:spTgt spid="2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27"/>
                                        </p:tgtEl>
                                        <p:attrNameLst>
                                          <p:attrName>style.visibility</p:attrName>
                                        </p:attrNameLst>
                                      </p:cBhvr>
                                      <p:to>
                                        <p:strVal val="visible"/>
                                      </p:to>
                                    </p:set>
                                    <p:animEffect transition="in" filter="fade">
                                      <p:cBhvr>
                                        <p:cTn id="24" dur="500"/>
                                        <p:tgtEl>
                                          <p:spTgt spid="2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500"/>
                                        <p:tgtEl>
                                          <p:spTgt spid="30"/>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par>
                                <p:cTn id="33" presetID="10" presetClass="entr" presetSubtype="0" fill="hold"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500"/>
                                        <p:tgtEl>
                                          <p:spTgt spid="17"/>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fade">
                                      <p:cBhvr>
                                        <p:cTn id="38" dur="500"/>
                                        <p:tgtEl>
                                          <p:spTgt spid="19"/>
                                        </p:tgtEl>
                                      </p:cBhvr>
                                    </p:animEffect>
                                  </p:childTnLst>
                                </p:cTn>
                              </p:par>
                              <p:par>
                                <p:cTn id="39" presetID="10" presetClass="entr" presetSubtype="0" fill="hold"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2"/>
                                        </p:tgtEl>
                                        <p:attrNameLst>
                                          <p:attrName>style.visibility</p:attrName>
                                        </p:attrNameLst>
                                      </p:cBhvr>
                                      <p:to>
                                        <p:strVal val="visible"/>
                                      </p:to>
                                    </p:set>
                                    <p:animEffect transition="in" filter="fade">
                                      <p:cBhvr>
                                        <p:cTn id="44" dur="500"/>
                                        <p:tgtEl>
                                          <p:spTgt spid="22"/>
                                        </p:tgtEl>
                                      </p:cBhvr>
                                    </p:animEffect>
                                  </p:childTnLst>
                                </p:cTn>
                              </p:par>
                              <p:par>
                                <p:cTn id="45" presetID="10" presetClass="entr" presetSubtype="0"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fade">
                                      <p:cBhvr>
                                        <p:cTn id="47" dur="500"/>
                                        <p:tgtEl>
                                          <p:spTgt spid="23"/>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par>
                                <p:cTn id="51" presetID="10" presetClass="entr" presetSubtype="0" fill="hold" nodeType="withEffect">
                                  <p:stCondLst>
                                    <p:cond delay="0"/>
                                  </p:stCondLst>
                                  <p:childTnLst>
                                    <p:set>
                                      <p:cBhvr>
                                        <p:cTn id="52" dur="1" fill="hold">
                                          <p:stCondLst>
                                            <p:cond delay="0"/>
                                          </p:stCondLst>
                                        </p:cTn>
                                        <p:tgtEl>
                                          <p:spTgt spid="26"/>
                                        </p:tgtEl>
                                        <p:attrNameLst>
                                          <p:attrName>style.visibility</p:attrName>
                                        </p:attrNameLst>
                                      </p:cBhvr>
                                      <p:to>
                                        <p:strVal val="visible"/>
                                      </p:to>
                                    </p:set>
                                    <p:animEffect transition="in" filter="fade">
                                      <p:cBhvr>
                                        <p:cTn id="53" dur="500"/>
                                        <p:tgtEl>
                                          <p:spTgt spid="26"/>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28"/>
                                        </p:tgtEl>
                                        <p:attrNameLst>
                                          <p:attrName>style.visibility</p:attrName>
                                        </p:attrNameLst>
                                      </p:cBhvr>
                                      <p:to>
                                        <p:strVal val="visible"/>
                                      </p:to>
                                    </p:set>
                                    <p:animEffect transition="in" filter="fade">
                                      <p:cBhvr>
                                        <p:cTn id="56" dur="500"/>
                                        <p:tgtEl>
                                          <p:spTgt spid="28"/>
                                        </p:tgtEl>
                                      </p:cBhvr>
                                    </p:animEffect>
                                  </p:childTnLst>
                                </p:cTn>
                              </p:par>
                              <p:par>
                                <p:cTn id="57" presetID="10" presetClass="entr" presetSubtype="0" fill="hold" nodeType="withEffect">
                                  <p:stCondLst>
                                    <p:cond delay="0"/>
                                  </p:stCondLst>
                                  <p:childTnLst>
                                    <p:set>
                                      <p:cBhvr>
                                        <p:cTn id="58" dur="1" fill="hold">
                                          <p:stCondLst>
                                            <p:cond delay="0"/>
                                          </p:stCondLst>
                                        </p:cTn>
                                        <p:tgtEl>
                                          <p:spTgt spid="29"/>
                                        </p:tgtEl>
                                        <p:attrNameLst>
                                          <p:attrName>style.visibility</p:attrName>
                                        </p:attrNameLst>
                                      </p:cBhvr>
                                      <p:to>
                                        <p:strVal val="visible"/>
                                      </p:to>
                                    </p:set>
                                    <p:animEffect transition="in" filter="fade">
                                      <p:cBhvr>
                                        <p:cTn id="59" dur="500"/>
                                        <p:tgtEl>
                                          <p:spTgt spid="29"/>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1"/>
                                        </p:tgtEl>
                                        <p:attrNameLst>
                                          <p:attrName>style.visibility</p:attrName>
                                        </p:attrNameLst>
                                      </p:cBhvr>
                                      <p:to>
                                        <p:strVal val="visible"/>
                                      </p:to>
                                    </p:set>
                                    <p:animEffect transition="in" filter="fade">
                                      <p:cBhvr>
                                        <p:cTn id="62" dur="500"/>
                                        <p:tgtEl>
                                          <p:spTgt spid="31"/>
                                        </p:tgtEl>
                                      </p:cBhvr>
                                    </p:animEffect>
                                  </p:childTnLst>
                                </p:cTn>
                              </p:par>
                              <p:par>
                                <p:cTn id="63" presetID="10" presetClass="entr" presetSubtype="0" fill="hold" nodeType="withEffect">
                                  <p:stCondLst>
                                    <p:cond delay="0"/>
                                  </p:stCondLst>
                                  <p:childTnLst>
                                    <p:set>
                                      <p:cBhvr>
                                        <p:cTn id="64" dur="1" fill="hold">
                                          <p:stCondLst>
                                            <p:cond delay="0"/>
                                          </p:stCondLst>
                                        </p:cTn>
                                        <p:tgtEl>
                                          <p:spTgt spid="32"/>
                                        </p:tgtEl>
                                        <p:attrNameLst>
                                          <p:attrName>style.visibility</p:attrName>
                                        </p:attrNameLst>
                                      </p:cBhvr>
                                      <p:to>
                                        <p:strVal val="visible"/>
                                      </p:to>
                                    </p:set>
                                    <p:animEffect transition="in" filter="fade">
                                      <p:cBhvr>
                                        <p:cTn id="65"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8" grpId="0" animBg="1"/>
      <p:bldP spid="19" grpId="0" animBg="1"/>
      <p:bldP spid="21" grpId="0" animBg="1"/>
      <p:bldP spid="22" grpId="0" animBg="1"/>
      <p:bldP spid="24" grpId="0" animBg="1"/>
      <p:bldP spid="25" grpId="0" animBg="1"/>
      <p:bldP spid="27" grpId="0" animBg="1"/>
      <p:bldP spid="28" grpId="0" animBg="1"/>
      <p:bldP spid="30" grpId="0" animBg="1"/>
      <p:bldP spid="31" grpId="0" animBg="1"/>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933AFC3-345B-CF4D-BB7B-31C5E0BA7E2C}"/>
              </a:ext>
            </a:extLst>
          </p:cNvPr>
          <p:cNvGraphicFramePr>
            <a:graphicFrameLocks noChangeAspect="1"/>
          </p:cNvGraphicFramePr>
          <p:nvPr>
            <p:custDataLst>
              <p:tags r:id="rId2"/>
            </p:custDataLst>
            <p:extLst>
              <p:ext uri="{D42A27DB-BD31-4B8C-83A1-F6EECF244321}">
                <p14:modId xmlns:p14="http://schemas.microsoft.com/office/powerpoint/2010/main" val="135232141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11935"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11620" name="Picture 4">
            <a:extLst>
              <a:ext uri="{FF2B5EF4-FFF2-40B4-BE49-F238E27FC236}">
                <a16:creationId xmlns:a16="http://schemas.microsoft.com/office/drawing/2014/main" id="{972CB28D-3DBD-A84B-B0A9-2E47F6A92A41}"/>
              </a:ext>
            </a:extLst>
          </p:cNvPr>
          <p:cNvPicPr>
            <a:picLocks noChangeAspect="1" noChangeArrowheads="1"/>
          </p:cNvPicPr>
          <p:nvPr/>
        </p:nvPicPr>
        <p:blipFill>
          <a:blip r:embed="rId7">
            <a:duotone>
              <a:prstClr val="black"/>
              <a:schemeClr val="accent6">
                <a:tint val="45000"/>
                <a:satMod val="400000"/>
              </a:schemeClr>
            </a:duotone>
            <a:extLst>
              <a:ext uri="{28A0092B-C50C-407E-A947-70E740481C1C}">
                <a14:useLocalDpi xmlns:a14="http://schemas.microsoft.com/office/drawing/2010/main" val="0"/>
              </a:ext>
            </a:extLst>
          </a:blip>
          <a:srcRect/>
          <a:stretch>
            <a:fillRect/>
          </a:stretch>
        </p:blipFill>
        <p:spPr bwMode="auto">
          <a:xfrm rot="5400000">
            <a:off x="-1500188" y="1500187"/>
            <a:ext cx="6858000" cy="3857625"/>
          </a:xfrm>
          <a:prstGeom prst="rect">
            <a:avLst/>
          </a:prstGeom>
          <a:noFill/>
          <a:extLst>
            <a:ext uri="{909E8E84-426E-40DD-AFC4-6F175D3DCCD1}">
              <a14:hiddenFill xmlns:a14="http://schemas.microsoft.com/office/drawing/2010/main">
                <a:solidFill>
                  <a:srgbClr val="FFFFFF"/>
                </a:solidFill>
              </a14:hiddenFill>
            </a:ext>
          </a:extLst>
        </p:spPr>
      </p:pic>
      <p:sp>
        <p:nvSpPr>
          <p:cNvPr id="9" name="직사각형 14">
            <a:extLst>
              <a:ext uri="{FF2B5EF4-FFF2-40B4-BE49-F238E27FC236}">
                <a16:creationId xmlns:a16="http://schemas.microsoft.com/office/drawing/2014/main" id="{667FC6DE-AC33-9F49-A348-7E64A1FA4DFB}"/>
              </a:ext>
            </a:extLst>
          </p:cNvPr>
          <p:cNvSpPr/>
          <p:nvPr/>
        </p:nvSpPr>
        <p:spPr>
          <a:xfrm>
            <a:off x="331620" y="589547"/>
            <a:ext cx="3194386" cy="5678906"/>
          </a:xfrm>
          <a:prstGeom prst="rect">
            <a:avLst/>
          </a:pr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8" name="Graphic 7" descr="Database outline">
            <a:extLst>
              <a:ext uri="{FF2B5EF4-FFF2-40B4-BE49-F238E27FC236}">
                <a16:creationId xmlns:a16="http://schemas.microsoft.com/office/drawing/2014/main" id="{71A917AA-6D79-D149-B989-96E517ABDBC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159265" y="2145423"/>
            <a:ext cx="1873469" cy="1873469"/>
          </a:xfrm>
          <a:prstGeom prst="rect">
            <a:avLst/>
          </a:prstGeom>
        </p:spPr>
      </p:pic>
      <p:sp>
        <p:nvSpPr>
          <p:cNvPr id="12" name="TextBox 11">
            <a:extLst>
              <a:ext uri="{FF2B5EF4-FFF2-40B4-BE49-F238E27FC236}">
                <a16:creationId xmlns:a16="http://schemas.microsoft.com/office/drawing/2014/main" id="{DDECCE28-25DF-774D-BAF6-AAD705D3E46F}"/>
              </a:ext>
            </a:extLst>
          </p:cNvPr>
          <p:cNvSpPr txBox="1"/>
          <p:nvPr/>
        </p:nvSpPr>
        <p:spPr>
          <a:xfrm>
            <a:off x="7109709" y="2778708"/>
            <a:ext cx="3236874" cy="2106731"/>
          </a:xfrm>
          <a:prstGeom prst="rect">
            <a:avLst/>
          </a:prstGeom>
          <a:noFill/>
        </p:spPr>
        <p:txBody>
          <a:bodyPr wrap="square" rtlCol="0">
            <a:spAutoFit/>
          </a:bodyPr>
          <a:lstStyle/>
          <a:p>
            <a:pPr>
              <a:lnSpc>
                <a:spcPct val="110000"/>
              </a:lnSpc>
            </a:pPr>
            <a:r>
              <a:rPr lang="en-US" altLang="ko-KR" sz="4800" dirty="0">
                <a:solidFill>
                  <a:schemeClr val="bg1">
                    <a:lumMod val="95000"/>
                  </a:schemeClr>
                </a:solidFill>
                <a:ea typeface="맑은 고딕" panose="020B0503020000020004" pitchFamily="50" charset="-127"/>
                <a:cs typeface="Calibri" panose="020F0502020204030204" pitchFamily="34" charset="0"/>
              </a:rPr>
              <a:t>Database</a:t>
            </a:r>
            <a:endParaRPr lang="en-US" altLang="ko-KR" sz="3200" dirty="0">
              <a:solidFill>
                <a:schemeClr val="bg1">
                  <a:lumMod val="95000"/>
                </a:schemeClr>
              </a:solidFill>
              <a:ea typeface="맑은 고딕" panose="020B0503020000020004" pitchFamily="50" charset="-127"/>
              <a:cs typeface="Calibri" panose="020F0502020204030204" pitchFamily="34" charset="0"/>
            </a:endParaRPr>
          </a:p>
          <a:p>
            <a:pPr>
              <a:lnSpc>
                <a:spcPct val="110000"/>
              </a:lnSpc>
            </a:pPr>
            <a:r>
              <a:rPr lang="en-US" altLang="ko-KR" sz="3200" dirty="0">
                <a:solidFill>
                  <a:schemeClr val="bg1">
                    <a:lumMod val="95000"/>
                  </a:schemeClr>
                </a:solidFill>
                <a:ea typeface="맑은 고딕" panose="020B0503020000020004" pitchFamily="50" charset="-127"/>
                <a:cs typeface="Calibri" panose="020F0502020204030204" pitchFamily="34" charset="0"/>
              </a:rPr>
              <a:t>	</a:t>
            </a:r>
            <a:r>
              <a:rPr lang="en-US" altLang="ko-KR" sz="2000" dirty="0">
                <a:solidFill>
                  <a:schemeClr val="bg1">
                    <a:lumMod val="95000"/>
                  </a:schemeClr>
                </a:solidFill>
                <a:ea typeface="맑은 고딕" panose="020B0503020000020004" pitchFamily="50" charset="-127"/>
                <a:cs typeface="Calibri" panose="020F0502020204030204" pitchFamily="34" charset="0"/>
              </a:rPr>
              <a:t>- Irreversible</a:t>
            </a:r>
          </a:p>
          <a:p>
            <a:pPr>
              <a:lnSpc>
                <a:spcPct val="110000"/>
              </a:lnSpc>
            </a:pPr>
            <a:r>
              <a:rPr lang="en-US" altLang="ko-KR" sz="2000" dirty="0">
                <a:solidFill>
                  <a:schemeClr val="bg1">
                    <a:lumMod val="95000"/>
                  </a:schemeClr>
                </a:solidFill>
                <a:ea typeface="맑은 고딕" panose="020B0503020000020004" pitchFamily="50" charset="-127"/>
                <a:cs typeface="Calibri" panose="020F0502020204030204" pitchFamily="34" charset="0"/>
              </a:rPr>
              <a:t>	- Permeant</a:t>
            </a:r>
          </a:p>
          <a:p>
            <a:pPr>
              <a:lnSpc>
                <a:spcPct val="110000"/>
              </a:lnSpc>
            </a:pPr>
            <a:r>
              <a:rPr lang="en-US" altLang="ko-KR" sz="2000" dirty="0">
                <a:solidFill>
                  <a:schemeClr val="bg1">
                    <a:lumMod val="95000"/>
                  </a:schemeClr>
                </a:solidFill>
                <a:ea typeface="맑은 고딕" panose="020B0503020000020004" pitchFamily="50" charset="-127"/>
                <a:cs typeface="Calibri" panose="020F0502020204030204" pitchFamily="34" charset="0"/>
              </a:rPr>
              <a:t>	- Trustworthy</a:t>
            </a:r>
          </a:p>
        </p:txBody>
      </p:sp>
    </p:spTree>
    <p:extLst>
      <p:ext uri="{BB962C8B-B14F-4D97-AF65-F5344CB8AC3E}">
        <p14:creationId xmlns:p14="http://schemas.microsoft.com/office/powerpoint/2010/main" val="34449237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iterate type="wd">
                                    <p:tmPct val="10000"/>
                                  </p:iterate>
                                  <p:childTnLst>
                                    <p:set>
                                      <p:cBhvr>
                                        <p:cTn id="6" dur="1" fill="hold">
                                          <p:stCondLst>
                                            <p:cond delay="0"/>
                                          </p:stCondLst>
                                        </p:cTn>
                                        <p:tgtEl>
                                          <p:spTgt spid="12">
                                            <p:txEl>
                                              <p:pRg st="0" end="0"/>
                                            </p:txEl>
                                          </p:spTgt>
                                        </p:tgtEl>
                                        <p:attrNameLst>
                                          <p:attrName>style.visibility</p:attrName>
                                        </p:attrNameLst>
                                      </p:cBhvr>
                                      <p:to>
                                        <p:strVal val="visible"/>
                                      </p:to>
                                    </p:set>
                                    <p:animEffect transition="in" filter="fade">
                                      <p:cBhvr>
                                        <p:cTn id="7" dur="500"/>
                                        <p:tgtEl>
                                          <p:spTgt spid="12">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iterate type="wd">
                                    <p:tmPct val="10000"/>
                                  </p:iterate>
                                  <p:childTnLst>
                                    <p:set>
                                      <p:cBhvr>
                                        <p:cTn id="11" dur="1" fill="hold">
                                          <p:stCondLst>
                                            <p:cond delay="0"/>
                                          </p:stCondLst>
                                        </p:cTn>
                                        <p:tgtEl>
                                          <p:spTgt spid="12">
                                            <p:txEl>
                                              <p:pRg st="1" end="1"/>
                                            </p:txEl>
                                          </p:spTgt>
                                        </p:tgtEl>
                                        <p:attrNameLst>
                                          <p:attrName>style.visibility</p:attrName>
                                        </p:attrNameLst>
                                      </p:cBhvr>
                                      <p:to>
                                        <p:strVal val="visible"/>
                                      </p:to>
                                    </p:set>
                                    <p:animEffect transition="in" filter="fade">
                                      <p:cBhvr>
                                        <p:cTn id="12" dur="500"/>
                                        <p:tgtEl>
                                          <p:spTgt spid="12">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iterate type="wd">
                                    <p:tmPct val="10000"/>
                                  </p:iterate>
                                  <p:childTnLst>
                                    <p:set>
                                      <p:cBhvr>
                                        <p:cTn id="16" dur="1" fill="hold">
                                          <p:stCondLst>
                                            <p:cond delay="0"/>
                                          </p:stCondLst>
                                        </p:cTn>
                                        <p:tgtEl>
                                          <p:spTgt spid="12">
                                            <p:txEl>
                                              <p:pRg st="2" end="2"/>
                                            </p:txEl>
                                          </p:spTgt>
                                        </p:tgtEl>
                                        <p:attrNameLst>
                                          <p:attrName>style.visibility</p:attrName>
                                        </p:attrNameLst>
                                      </p:cBhvr>
                                      <p:to>
                                        <p:strVal val="visible"/>
                                      </p:to>
                                    </p:set>
                                    <p:animEffect transition="in" filter="fade">
                                      <p:cBhvr>
                                        <p:cTn id="17" dur="500"/>
                                        <p:tgtEl>
                                          <p:spTgt spid="12">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iterate type="wd">
                                    <p:tmPct val="10000"/>
                                  </p:iterate>
                                  <p:childTnLst>
                                    <p:set>
                                      <p:cBhvr>
                                        <p:cTn id="21" dur="1" fill="hold">
                                          <p:stCondLst>
                                            <p:cond delay="0"/>
                                          </p:stCondLst>
                                        </p:cTn>
                                        <p:tgtEl>
                                          <p:spTgt spid="12">
                                            <p:txEl>
                                              <p:pRg st="3" end="3"/>
                                            </p:txEl>
                                          </p:spTgt>
                                        </p:tgtEl>
                                        <p:attrNameLst>
                                          <p:attrName>style.visibility</p:attrName>
                                        </p:attrNameLst>
                                      </p:cBhvr>
                                      <p:to>
                                        <p:strVal val="visible"/>
                                      </p:to>
                                    </p:set>
                                    <p:animEffect transition="in" filter="fade">
                                      <p:cBhvr>
                                        <p:cTn id="22" dur="50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5201EC-D4A5-A540-AB24-4C48DEEAE049}"/>
              </a:ext>
            </a:extLst>
          </p:cNvPr>
          <p:cNvGraphicFramePr>
            <a:graphicFrameLocks noChangeAspect="1"/>
          </p:cNvGraphicFramePr>
          <p:nvPr>
            <p:custDataLst>
              <p:tags r:id="rId2"/>
            </p:custDataLst>
            <p:extLst>
              <p:ext uri="{D42A27DB-BD31-4B8C-83A1-F6EECF244321}">
                <p14:modId xmlns:p14="http://schemas.microsoft.com/office/powerpoint/2010/main" val="385004132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234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72281" name="Picture 249" descr="person holding silver iphone 6">
            <a:extLst>
              <a:ext uri="{FF2B5EF4-FFF2-40B4-BE49-F238E27FC236}">
                <a16:creationId xmlns:a16="http://schemas.microsoft.com/office/drawing/2014/main" id="{CCE46153-CF90-A147-A247-629A82C73060}"/>
              </a:ext>
            </a:extLst>
          </p:cNvPr>
          <p:cNvPicPr>
            <a:picLocks noChangeAspect="1" noChangeArrowheads="1"/>
          </p:cNvPicPr>
          <p:nvPr/>
        </p:nvPicPr>
        <p:blipFill rotWithShape="1">
          <a:blip r:embed="rId7">
            <a:duotone>
              <a:prstClr val="black"/>
              <a:schemeClr val="accent6">
                <a:tint val="45000"/>
                <a:satMod val="400000"/>
              </a:schemeClr>
            </a:duotone>
            <a:extLst>
              <a:ext uri="{28A0092B-C50C-407E-A947-70E740481C1C}">
                <a14:useLocalDpi xmlns:a14="http://schemas.microsoft.com/office/drawing/2010/main" val="0"/>
              </a:ext>
            </a:extLst>
          </a:blip>
          <a:srcRect l="34675" r="22626" b="27973"/>
          <a:stretch/>
        </p:blipFill>
        <p:spPr bwMode="auto">
          <a:xfrm>
            <a:off x="0" y="0"/>
            <a:ext cx="7221153"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1" y="0"/>
            <a:ext cx="7221152" cy="685800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6" name="TextBox 5"/>
          <p:cNvSpPr txBox="1"/>
          <p:nvPr/>
        </p:nvSpPr>
        <p:spPr>
          <a:xfrm>
            <a:off x="5668186" y="5455079"/>
            <a:ext cx="3139911" cy="523220"/>
          </a:xfrm>
          <a:prstGeom prst="rect">
            <a:avLst/>
          </a:prstGeom>
          <a:noFill/>
        </p:spPr>
        <p:txBody>
          <a:bodyPr wrap="square" rtlCol="0">
            <a:spAutoFit/>
          </a:bodyPr>
          <a:lstStyle/>
          <a:p>
            <a:pPr lvl="0" algn="ctr"/>
            <a:r>
              <a:rPr lang="en-US" altLang="ko-KR" sz="2800" spc="300" dirty="0">
                <a:ln>
                  <a:solidFill>
                    <a:srgbClr val="3E8E86">
                      <a:alpha val="0"/>
                    </a:srgbClr>
                  </a:solidFill>
                </a:ln>
                <a:solidFill>
                  <a:prstClr val="white"/>
                </a:solidFill>
                <a:latin typeface="Montserrat Medium"/>
                <a:ea typeface="맑은 고딕" panose="020B0503020000020004" pitchFamily="50" charset="-127"/>
                <a:cs typeface="Calibri" panose="020F0502020204030204" pitchFamily="34" charset="0"/>
              </a:rPr>
              <a:t>APPLICATION</a:t>
            </a:r>
          </a:p>
        </p:txBody>
      </p:sp>
    </p:spTree>
    <p:extLst>
      <p:ext uri="{BB962C8B-B14F-4D97-AF65-F5344CB8AC3E}">
        <p14:creationId xmlns:p14="http://schemas.microsoft.com/office/powerpoint/2010/main" val="1708193252"/>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05180B-1B6C-1F4C-9349-A10CABA0ED70}"/>
              </a:ext>
            </a:extLst>
          </p:cNvPr>
          <p:cNvGraphicFramePr>
            <a:graphicFrameLocks noChangeAspect="1"/>
          </p:cNvGraphicFramePr>
          <p:nvPr>
            <p:custDataLst>
              <p:tags r:id="rId2"/>
            </p:custDataLst>
            <p:extLst>
              <p:ext uri="{D42A27DB-BD31-4B8C-83A1-F6EECF244321}">
                <p14:modId xmlns:p14="http://schemas.microsoft.com/office/powerpoint/2010/main" val="146162918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815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직사각형 3">
            <a:extLst>
              <a:ext uri="{FF2B5EF4-FFF2-40B4-BE49-F238E27FC236}">
                <a16:creationId xmlns:a16="http://schemas.microsoft.com/office/drawing/2014/main" id="{BFC26D49-78EC-9D4F-A1BC-D71E6CBD071D}"/>
              </a:ext>
            </a:extLst>
          </p:cNvPr>
          <p:cNvSpPr/>
          <p:nvPr/>
        </p:nvSpPr>
        <p:spPr>
          <a:xfrm>
            <a:off x="-1" y="2154555"/>
            <a:ext cx="4419599" cy="254889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68042" name="Picture 74">
            <a:extLst>
              <a:ext uri="{FF2B5EF4-FFF2-40B4-BE49-F238E27FC236}">
                <a16:creationId xmlns:a16="http://schemas.microsoft.com/office/drawing/2014/main" id="{EB52BC9C-D3EF-F949-9818-61CD2B85E867}"/>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57447" y="3230935"/>
            <a:ext cx="3103023" cy="396131"/>
          </a:xfrm>
          <a:prstGeom prst="rect">
            <a:avLst/>
          </a:prstGeom>
          <a:noFill/>
          <a:extLst>
            <a:ext uri="{909E8E84-426E-40DD-AFC4-6F175D3DCCD1}">
              <a14:hiddenFill xmlns:a14="http://schemas.microsoft.com/office/drawing/2010/main">
                <a:solidFill>
                  <a:srgbClr val="FFFFFF"/>
                </a:solidFill>
              </a14:hiddenFill>
            </a:ext>
          </a:extLst>
        </p:spPr>
      </p:pic>
      <p:pic>
        <p:nvPicPr>
          <p:cNvPr id="468046" name="Picture 78" descr="music room with lights turned on">
            <a:extLst>
              <a:ext uri="{FF2B5EF4-FFF2-40B4-BE49-F238E27FC236}">
                <a16:creationId xmlns:a16="http://schemas.microsoft.com/office/drawing/2014/main" id="{8D98ADD0-1F08-9A44-A8B5-94AF8EE39262}"/>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622" r="7788"/>
          <a:stretch/>
        </p:blipFill>
        <p:spPr bwMode="auto">
          <a:xfrm>
            <a:off x="4419599" y="0"/>
            <a:ext cx="7772401"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0172323"/>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4FA783-BD37-5E46-B131-27FC121D4330}"/>
              </a:ext>
            </a:extLst>
          </p:cNvPr>
          <p:cNvGraphicFramePr>
            <a:graphicFrameLocks noChangeAspect="1"/>
          </p:cNvGraphicFramePr>
          <p:nvPr>
            <p:custDataLst>
              <p:tags r:id="rId2"/>
            </p:custDataLst>
            <p:extLst>
              <p:ext uri="{D42A27DB-BD31-4B8C-83A1-F6EECF244321}">
                <p14:modId xmlns:p14="http://schemas.microsoft.com/office/powerpoint/2010/main" val="1802742221"/>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6918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직사각형 3">
            <a:extLst>
              <a:ext uri="{FF2B5EF4-FFF2-40B4-BE49-F238E27FC236}">
                <a16:creationId xmlns:a16="http://schemas.microsoft.com/office/drawing/2014/main" id="{D849682D-1AC2-C746-B8B7-46C37C581892}"/>
              </a:ext>
            </a:extLst>
          </p:cNvPr>
          <p:cNvSpPr/>
          <p:nvPr/>
        </p:nvSpPr>
        <p:spPr>
          <a:xfrm>
            <a:off x="7166612" y="2154555"/>
            <a:ext cx="5025388" cy="254889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69071" name="Picture 79" descr="person sitting while using laptop computer and green stethoscope near">
            <a:extLst>
              <a:ext uri="{FF2B5EF4-FFF2-40B4-BE49-F238E27FC236}">
                <a16:creationId xmlns:a16="http://schemas.microsoft.com/office/drawing/2014/main" id="{96B5E663-D5AC-A546-B6E1-539E0BA9BCA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9005" r="21297"/>
          <a:stretch/>
        </p:blipFill>
        <p:spPr bwMode="auto">
          <a:xfrm>
            <a:off x="1" y="0"/>
            <a:ext cx="716661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69073" name="Picture 81">
            <a:extLst>
              <a:ext uri="{FF2B5EF4-FFF2-40B4-BE49-F238E27FC236}">
                <a16:creationId xmlns:a16="http://schemas.microsoft.com/office/drawing/2014/main" id="{4D620691-31FC-0E46-979B-CC06CFC89068}"/>
              </a:ext>
            </a:extLst>
          </p:cNvPr>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8045450" y="2603500"/>
            <a:ext cx="3302000" cy="1651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369529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C03CAE-C36F-5A43-A3FF-0BBE291D0772}"/>
              </a:ext>
            </a:extLst>
          </p:cNvPr>
          <p:cNvGraphicFramePr>
            <a:graphicFrameLocks noChangeAspect="1"/>
          </p:cNvGraphicFramePr>
          <p:nvPr>
            <p:custDataLst>
              <p:tags r:id="rId2"/>
            </p:custDataLst>
            <p:extLst>
              <p:ext uri="{D42A27DB-BD31-4B8C-83A1-F6EECF244321}">
                <p14:modId xmlns:p14="http://schemas.microsoft.com/office/powerpoint/2010/main" val="51612276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47020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1BF423-0E09-EF4A-A87F-D17C77442BE6}"/>
              </a:ext>
            </a:extLst>
          </p:cNvPr>
          <p:cNvSpPr/>
          <p:nvPr/>
        </p:nvSpPr>
        <p:spPr>
          <a:xfrm>
            <a:off x="8134350" y="2915920"/>
            <a:ext cx="4057650" cy="1219200"/>
          </a:xfrm>
          <a:prstGeom prst="rect">
            <a:avLst/>
          </a:prstGeom>
          <a:solidFill>
            <a:srgbClr val="FCD30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직사각형 3">
            <a:extLst>
              <a:ext uri="{FF2B5EF4-FFF2-40B4-BE49-F238E27FC236}">
                <a16:creationId xmlns:a16="http://schemas.microsoft.com/office/drawing/2014/main" id="{39C7B6D9-78B8-AA41-B68B-D6FDB8BCD80C}"/>
              </a:ext>
            </a:extLst>
          </p:cNvPr>
          <p:cNvSpPr/>
          <p:nvPr/>
        </p:nvSpPr>
        <p:spPr>
          <a:xfrm>
            <a:off x="8134350" y="2154555"/>
            <a:ext cx="4057650" cy="254889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470100" name="Picture 84" descr="man standing in front of DHL truck door">
            <a:extLst>
              <a:ext uri="{FF2B5EF4-FFF2-40B4-BE49-F238E27FC236}">
                <a16:creationId xmlns:a16="http://schemas.microsoft.com/office/drawing/2014/main" id="{2BD33D52-A932-1247-8F67-6B70A6C77131}"/>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20890"/>
          <a:stretch/>
        </p:blipFill>
        <p:spPr bwMode="auto">
          <a:xfrm>
            <a:off x="0" y="0"/>
            <a:ext cx="813435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470104" name="Picture 88">
            <a:extLst>
              <a:ext uri="{FF2B5EF4-FFF2-40B4-BE49-F238E27FC236}">
                <a16:creationId xmlns:a16="http://schemas.microsoft.com/office/drawing/2014/main" id="{E482E8C3-27B3-7E47-805C-524298E9799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134350" y="3205242"/>
            <a:ext cx="4057650" cy="9298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943758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DC1ECDC-BE3D-AC40-A081-DC9A364B6835}"/>
              </a:ext>
            </a:extLst>
          </p:cNvPr>
          <p:cNvGraphicFramePr>
            <a:graphicFrameLocks noChangeAspect="1"/>
          </p:cNvGraphicFramePr>
          <p:nvPr>
            <p:custDataLst>
              <p:tags r:id="rId2"/>
            </p:custDataLst>
            <p:extLst>
              <p:ext uri="{D42A27DB-BD31-4B8C-83A1-F6EECF244321}">
                <p14:modId xmlns:p14="http://schemas.microsoft.com/office/powerpoint/2010/main" val="216711118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620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그림 개체 틀 4"/>
          <p:cNvPicPr>
            <a:picLocks noGrp="1" noChangeAspect="1"/>
          </p:cNvPicPr>
          <p:nvPr>
            <p:ph type="pic" sz="quarter" idx="13"/>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24965" b="24965"/>
          <a:stretch>
            <a:fillRect/>
          </a:stretch>
        </p:blipFill>
        <p:spPr/>
      </p:pic>
      <p:sp>
        <p:nvSpPr>
          <p:cNvPr id="11" name="직사각형 10"/>
          <p:cNvSpPr/>
          <p:nvPr/>
        </p:nvSpPr>
        <p:spPr>
          <a:xfrm>
            <a:off x="0" y="3429000"/>
            <a:ext cx="12192000" cy="342900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직사각형 7"/>
          <p:cNvSpPr/>
          <p:nvPr/>
        </p:nvSpPr>
        <p:spPr>
          <a:xfrm>
            <a:off x="766916" y="704509"/>
            <a:ext cx="10671743" cy="5401323"/>
          </a:xfrm>
          <a:prstGeom prst="rect">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extBox 8"/>
          <p:cNvSpPr txBox="1"/>
          <p:nvPr/>
        </p:nvSpPr>
        <p:spPr>
          <a:xfrm>
            <a:off x="1447187" y="1297142"/>
            <a:ext cx="9003099" cy="1085938"/>
          </a:xfrm>
          <a:prstGeom prst="rect">
            <a:avLst/>
          </a:prstGeom>
          <a:noFill/>
        </p:spPr>
        <p:txBody>
          <a:bodyPr wrap="square" rtlCol="0">
            <a:spAutoFit/>
          </a:bodyPr>
          <a:lstStyle/>
          <a:p>
            <a:pPr>
              <a:lnSpc>
                <a:spcPct val="120000"/>
              </a:lnSpc>
            </a:pPr>
            <a:r>
              <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AI</a:t>
            </a:r>
          </a:p>
          <a:p>
            <a:pPr>
              <a:lnSpc>
                <a:spcPct val="120000"/>
              </a:lnSpc>
            </a:pPr>
            <a:r>
              <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ARTIFICIAL INTELLIGENCE</a:t>
            </a:r>
          </a:p>
        </p:txBody>
      </p:sp>
      <p:sp>
        <p:nvSpPr>
          <p:cNvPr id="12" name="TextBox 11"/>
          <p:cNvSpPr txBox="1"/>
          <p:nvPr/>
        </p:nvSpPr>
        <p:spPr>
          <a:xfrm>
            <a:off x="7541231" y="1415807"/>
            <a:ext cx="3513761" cy="1200200"/>
          </a:xfrm>
          <a:prstGeom prst="rect">
            <a:avLst/>
          </a:prstGeom>
          <a:noFill/>
        </p:spPr>
        <p:txBody>
          <a:bodyPr wrap="square" rtlCol="0">
            <a:spAutoFit/>
          </a:bodyPr>
          <a:lstStyle/>
          <a:p>
            <a:pPr>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Artificial intelligence (AI) is an area of computer science that emphasizes the creation of intelligent machines that work and react like humans. Some of the activities computers with AI are designed for include: Speech recognition, Learning, Planning and Problem solving.</a:t>
            </a:r>
            <a:br>
              <a:rPr lang="en-US" altLang="ko-KR" sz="1100" dirty="0">
                <a:solidFill>
                  <a:schemeClr val="bg1">
                    <a:lumMod val="95000"/>
                  </a:schemeClr>
                </a:solidFill>
                <a:ea typeface="맑은 고딕" panose="020B0503020000020004" pitchFamily="50" charset="-127"/>
                <a:cs typeface="Calibri" panose="020F0502020204030204" pitchFamily="34" charset="0"/>
              </a:rPr>
            </a:br>
            <a:endParaRPr lang="en-US" altLang="ko-KR" sz="1100" dirty="0">
              <a:solidFill>
                <a:schemeClr val="bg1">
                  <a:lumMod val="95000"/>
                </a:schemeClr>
              </a:solidFill>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28294307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extLst>
              <p:ext uri="{D42A27DB-BD31-4B8C-83A1-F6EECF244321}">
                <p14:modId xmlns:p14="http://schemas.microsoft.com/office/powerpoint/2010/main" val="244200075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3606"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4763"/>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lumMod val="0"/>
                    <a:lumOff val="100000"/>
                  </a:srgbClr>
                </a:gs>
                <a:gs pos="100000">
                  <a:srgbClr val="3E8E86">
                    <a:alpha val="60000"/>
                    <a:lumMod val="0"/>
                    <a:lumOff val="100000"/>
                  </a:srgbClr>
                </a:gs>
                <a:gs pos="55000">
                  <a:srgbClr val="2B2D78">
                    <a:alpha val="60000"/>
                    <a:lumMod val="0"/>
                    <a:lumOff val="10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251" name="Picture 3">
            <a:extLst>
              <a:ext uri="{FF2B5EF4-FFF2-40B4-BE49-F238E27FC236}">
                <a16:creationId xmlns:a16="http://schemas.microsoft.com/office/drawing/2014/main" id="{D8816BFA-21D5-5749-94A9-75FCBC688E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3785" y="295012"/>
            <a:ext cx="449792" cy="8164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C91C676-1A09-3840-8782-19FAAF1E8A21}"/>
              </a:ext>
            </a:extLst>
          </p:cNvPr>
          <p:cNvGrpSpPr/>
          <p:nvPr/>
        </p:nvGrpSpPr>
        <p:grpSpPr>
          <a:xfrm>
            <a:off x="4713542" y="429779"/>
            <a:ext cx="2764916" cy="523220"/>
            <a:chOff x="4643042" y="788187"/>
            <a:chExt cx="2764916" cy="523220"/>
          </a:xfrm>
        </p:grpSpPr>
        <p:sp>
          <p:nvSpPr>
            <p:cNvPr id="2" name="TextBox 1">
              <a:extLst>
                <a:ext uri="{FF2B5EF4-FFF2-40B4-BE49-F238E27FC236}">
                  <a16:creationId xmlns:a16="http://schemas.microsoft.com/office/drawing/2014/main" id="{8F393196-8381-6F4F-A52D-46371AC56431}"/>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15%</a:t>
              </a:r>
            </a:p>
          </p:txBody>
        </p:sp>
        <p:sp>
          <p:nvSpPr>
            <p:cNvPr id="18" name="TextBox 17">
              <a:extLst>
                <a:ext uri="{FF2B5EF4-FFF2-40B4-BE49-F238E27FC236}">
                  <a16:creationId xmlns:a16="http://schemas.microsoft.com/office/drawing/2014/main" id="{A803D08E-A871-6345-8CDA-C60893857B8A}"/>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10%</a:t>
              </a:r>
            </a:p>
          </p:txBody>
        </p:sp>
      </p:grpSp>
      <p:pic>
        <p:nvPicPr>
          <p:cNvPr id="183300" name="Picture 4" descr="Amazon logo PNG">
            <a:extLst>
              <a:ext uri="{FF2B5EF4-FFF2-40B4-BE49-F238E27FC236}">
                <a16:creationId xmlns:a16="http://schemas.microsoft.com/office/drawing/2014/main" id="{3F290175-8B9D-6A45-9BCC-DCDC55D2E4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168882" y="3248596"/>
            <a:ext cx="1848832" cy="558261"/>
          </a:xfrm>
          <a:prstGeom prst="rect">
            <a:avLst/>
          </a:prstGeom>
          <a:noFill/>
          <a:extLst>
            <a:ext uri="{909E8E84-426E-40DD-AFC4-6F175D3DCCD1}">
              <a14:hiddenFill xmlns:a14="http://schemas.microsoft.com/office/drawing/2010/main">
                <a:solidFill>
                  <a:srgbClr val="FFFFFF"/>
                </a:solidFill>
              </a14:hiddenFill>
            </a:ext>
          </a:extLst>
        </p:spPr>
      </p:pic>
      <p:sp>
        <p:nvSpPr>
          <p:cNvPr id="21" name="Rectangle 20">
            <a:extLst>
              <a:ext uri="{FF2B5EF4-FFF2-40B4-BE49-F238E27FC236}">
                <a16:creationId xmlns:a16="http://schemas.microsoft.com/office/drawing/2014/main" id="{EC847E4E-0A3C-0045-A60B-C329B84C8B0F}"/>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168684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3300"/>
                                        </p:tgtEl>
                                        <p:attrNameLst>
                                          <p:attrName>style.visibility</p:attrName>
                                        </p:attrNameLst>
                                      </p:cBhvr>
                                      <p:to>
                                        <p:strVal val="visible"/>
                                      </p:to>
                                    </p:set>
                                    <p:animEffect transition="in" filter="fade">
                                      <p:cBhvr>
                                        <p:cTn id="7" dur="500"/>
                                        <p:tgtEl>
                                          <p:spTgt spid="18330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F4858FB6-4B81-4C4F-A884-4D21DF2AE5A7}"/>
              </a:ext>
            </a:extLst>
          </p:cNvPr>
          <p:cNvGraphicFramePr>
            <a:graphicFrameLocks noChangeAspect="1"/>
          </p:cNvGraphicFramePr>
          <p:nvPr>
            <p:custDataLst>
              <p:tags r:id="rId2"/>
            </p:custDataLst>
            <p:extLst>
              <p:ext uri="{D42A27DB-BD31-4B8C-83A1-F6EECF244321}">
                <p14:modId xmlns:p14="http://schemas.microsoft.com/office/powerpoint/2010/main" val="6498335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06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6" name="Picture 15" descr="Close up of a person's eye&#10;&#10;Description automatically generated with medium confidence">
            <a:extLst>
              <a:ext uri="{FF2B5EF4-FFF2-40B4-BE49-F238E27FC236}">
                <a16:creationId xmlns:a16="http://schemas.microsoft.com/office/drawing/2014/main" id="{DED91A6A-A83B-6F43-907B-6848A256C788}"/>
              </a:ext>
            </a:extLst>
          </p:cNvPr>
          <p:cNvPicPr>
            <a:picLocks noChangeAspect="1"/>
          </p:cNvPicPr>
          <p:nvPr/>
        </p:nvPicPr>
        <p:blipFill rotWithShape="1">
          <a:blip r:embed="rId7">
            <a:duotone>
              <a:prstClr val="black"/>
              <a:schemeClr val="tx2">
                <a:tint val="45000"/>
                <a:satMod val="400000"/>
              </a:schemeClr>
            </a:duotone>
            <a:extLst>
              <a:ext uri="{28A0092B-C50C-407E-A947-70E740481C1C}">
                <a14:useLocalDpi xmlns:a14="http://schemas.microsoft.com/office/drawing/2010/main" val="0"/>
              </a:ext>
            </a:extLst>
          </a:blip>
          <a:srcRect l="17603" t="17894" r="22066" b="7716"/>
          <a:stretch/>
        </p:blipFill>
        <p:spPr>
          <a:xfrm>
            <a:off x="3709988" y="1467403"/>
            <a:ext cx="4772025" cy="3923195"/>
          </a:xfrm>
          <a:prstGeom prst="rect">
            <a:avLst/>
          </a:prstGeom>
        </p:spPr>
      </p:pic>
      <p:sp>
        <p:nvSpPr>
          <p:cNvPr id="4" name="직사각형 3"/>
          <p:cNvSpPr/>
          <p:nvPr/>
        </p:nvSpPr>
        <p:spPr>
          <a:xfrm>
            <a:off x="3709988" y="1467401"/>
            <a:ext cx="4772025" cy="3923195"/>
          </a:xfrm>
          <a:prstGeom prst="rect">
            <a:avLst/>
          </a:pr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nvGrpSpPr>
          <p:cNvPr id="9" name="그룹 8"/>
          <p:cNvGrpSpPr/>
          <p:nvPr/>
        </p:nvGrpSpPr>
        <p:grpSpPr>
          <a:xfrm>
            <a:off x="6667928" y="4441095"/>
            <a:ext cx="5219271" cy="1692649"/>
            <a:chOff x="7564694" y="4422045"/>
            <a:chExt cx="4436805" cy="1692649"/>
          </a:xfrm>
        </p:grpSpPr>
        <p:sp>
          <p:nvSpPr>
            <p:cNvPr id="5" name="TextBox 4"/>
            <p:cNvSpPr txBox="1"/>
            <p:nvPr/>
          </p:nvSpPr>
          <p:spPr>
            <a:xfrm>
              <a:off x="7564694" y="4422045"/>
              <a:ext cx="4436805" cy="1384995"/>
            </a:xfrm>
            <a:prstGeom prst="rect">
              <a:avLst/>
            </a:prstGeom>
            <a:noFill/>
          </p:spPr>
          <p:txBody>
            <a:bodyPr wrap="square" rtlCol="0">
              <a:spAutoFit/>
            </a:bodyPr>
            <a:lstStyle/>
            <a:p>
              <a:r>
                <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MACHINE LEARNING</a:t>
              </a:r>
            </a:p>
            <a:p>
              <a:br>
                <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br>
              <a:endPar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endParaRPr>
            </a:p>
          </p:txBody>
        </p:sp>
        <p:sp>
          <p:nvSpPr>
            <p:cNvPr id="6" name="TextBox 5"/>
            <p:cNvSpPr txBox="1"/>
            <p:nvPr/>
          </p:nvSpPr>
          <p:spPr>
            <a:xfrm>
              <a:off x="7564694" y="5100634"/>
              <a:ext cx="3922456" cy="1014060"/>
            </a:xfrm>
            <a:prstGeom prst="rect">
              <a:avLst/>
            </a:prstGeom>
            <a:noFill/>
          </p:spPr>
          <p:txBody>
            <a:bodyPr wrap="square" rtlCol="0">
              <a:spAutoFit/>
            </a:bodyPr>
            <a:lstStyle/>
            <a:p>
              <a:pPr algn="just">
                <a:lnSpc>
                  <a:spcPct val="110000"/>
                </a:lnSpc>
              </a:pPr>
              <a:r>
                <a:rPr lang="en-US" altLang="ko-KR" sz="1100" dirty="0">
                  <a:solidFill>
                    <a:schemeClr val="bg1">
                      <a:lumMod val="95000"/>
                    </a:schemeClr>
                  </a:solidFill>
                  <a:ea typeface="맑은 고딕" panose="020B0503020000020004" pitchFamily="50" charset="-127"/>
                  <a:cs typeface="Calibri" panose="020F0502020204030204" pitchFamily="34" charset="0"/>
                </a:rPr>
                <a:t>Machine learning (ML) is the study of algorithms and statistical models that computer systems use to progressively improve their performance on a specific task. ML algorithms build a mathematical model of sample data, known as "training data", in order to make predictions or decisions without being explicitly programmed to perform the task.</a:t>
              </a:r>
            </a:p>
          </p:txBody>
        </p:sp>
      </p:grpSp>
      <p:cxnSp>
        <p:nvCxnSpPr>
          <p:cNvPr id="10" name="직선 연결선 9"/>
          <p:cNvCxnSpPr>
            <a:cxnSpLocks/>
          </p:cNvCxnSpPr>
          <p:nvPr/>
        </p:nvCxnSpPr>
        <p:spPr>
          <a:xfrm>
            <a:off x="6770670" y="4286250"/>
            <a:ext cx="542133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95827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4946" name="Picture 2" descr="pink liquid in clear drinking glass with green straw">
            <a:extLst>
              <a:ext uri="{FF2B5EF4-FFF2-40B4-BE49-F238E27FC236}">
                <a16:creationId xmlns:a16="http://schemas.microsoft.com/office/drawing/2014/main" id="{4ECF3BC0-0AA5-EF4B-B9ED-EF21CFCE445B}"/>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brightnessContrast bright="41000"/>
                    </a14:imgEffect>
                  </a14:imgLayer>
                </a14:imgProps>
              </a:ext>
              <a:ext uri="{28A0092B-C50C-407E-A947-70E740481C1C}">
                <a14:useLocalDpi xmlns:a14="http://schemas.microsoft.com/office/drawing/2010/main" val="0"/>
              </a:ext>
            </a:extLst>
          </a:blip>
          <a:srcRect l="8333" t="27111" r="8333"/>
          <a:stretch/>
        </p:blipFill>
        <p:spPr bwMode="auto">
          <a:xfrm>
            <a:off x="1107440" y="929640"/>
            <a:ext cx="4572000" cy="4998720"/>
          </a:xfrm>
          <a:prstGeom prst="rect">
            <a:avLst/>
          </a:prstGeom>
          <a:noFill/>
          <a:extLst>
            <a:ext uri="{909E8E84-426E-40DD-AFC4-6F175D3DCCD1}">
              <a14:hiddenFill xmlns:a14="http://schemas.microsoft.com/office/drawing/2010/main">
                <a:solidFill>
                  <a:srgbClr val="FFFFFF"/>
                </a:solidFill>
              </a14:hiddenFill>
            </a:ext>
          </a:extLst>
        </p:spPr>
      </p:pic>
      <p:pic>
        <p:nvPicPr>
          <p:cNvPr id="594948" name="Picture 4" descr="clear drinking glass with red liquid on brown wooden round table">
            <a:extLst>
              <a:ext uri="{FF2B5EF4-FFF2-40B4-BE49-F238E27FC236}">
                <a16:creationId xmlns:a16="http://schemas.microsoft.com/office/drawing/2014/main" id="{B8DBFBD2-FE69-7F49-9F0B-679F9539B3A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3556" b="13556"/>
          <a:stretch/>
        </p:blipFill>
        <p:spPr bwMode="auto">
          <a:xfrm>
            <a:off x="6512560" y="929640"/>
            <a:ext cx="4572000" cy="4998720"/>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a:extLst>
              <a:ext uri="{FF2B5EF4-FFF2-40B4-BE49-F238E27FC236}">
                <a16:creationId xmlns:a16="http://schemas.microsoft.com/office/drawing/2014/main" id="{040EAA9D-C312-F94C-9CA9-28E46A9DF5AB}"/>
              </a:ext>
            </a:extLst>
          </p:cNvPr>
          <p:cNvSpPr/>
          <p:nvPr/>
        </p:nvSpPr>
        <p:spPr>
          <a:xfrm>
            <a:off x="1107440" y="3901440"/>
            <a:ext cx="4572000" cy="2026920"/>
          </a:xfrm>
          <a:prstGeom prst="rect">
            <a:avLst/>
          </a:prstGeom>
          <a:gradFill>
            <a:gsLst>
              <a:gs pos="0">
                <a:srgbClr val="B34768">
                  <a:alpha val="90000"/>
                </a:srgbClr>
              </a:gs>
              <a:gs pos="100000">
                <a:srgbClr val="3E8E86">
                  <a:alpha val="77000"/>
                </a:srgbClr>
              </a:gs>
              <a:gs pos="50000">
                <a:srgbClr val="2B2D78">
                  <a:alpha val="8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288000" bIns="251999" rtlCol="0" anchor="ctr"/>
          <a:lstStyle/>
          <a:p>
            <a:pPr>
              <a:lnSpc>
                <a:spcPct val="150000"/>
              </a:lnSpc>
            </a:pPr>
            <a:r>
              <a:rPr lang="en-US" altLang="ko-KR" sz="2400" b="1" dirty="0">
                <a:latin typeface="+mj-lt"/>
              </a:rPr>
              <a:t>COLOR: </a:t>
            </a:r>
            <a:r>
              <a:rPr lang="en-US" altLang="ko-KR" sz="3600" b="1" dirty="0"/>
              <a:t>	</a:t>
            </a:r>
            <a:r>
              <a:rPr lang="en-US" altLang="ko-KR" sz="2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Light </a:t>
            </a:r>
            <a:r>
              <a:rPr lang="en-US" altLang="ko-KR" sz="16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700nm)</a:t>
            </a:r>
            <a:endParaRPr lang="en-US" altLang="ko-KR" sz="2400" dirty="0"/>
          </a:p>
          <a:p>
            <a:pPr>
              <a:lnSpc>
                <a:spcPct val="150000"/>
              </a:lnSpc>
            </a:pPr>
            <a:r>
              <a:rPr lang="en-US" altLang="ko-KR" sz="2400" b="1" dirty="0">
                <a:latin typeface="+mj-lt"/>
              </a:rPr>
              <a:t>WATER%:</a:t>
            </a:r>
            <a:r>
              <a:rPr lang="en-US" altLang="ko-KR" sz="3600" b="1" dirty="0"/>
              <a:t>	</a:t>
            </a:r>
            <a:r>
              <a:rPr lang="en-US" altLang="ko-KR" sz="2400" b="1"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91%</a:t>
            </a:r>
            <a:endParaRPr lang="ko-KR" altLang="en-US" sz="3600" dirty="0"/>
          </a:p>
        </p:txBody>
      </p:sp>
      <p:sp>
        <p:nvSpPr>
          <p:cNvPr id="7" name="직사각형 3">
            <a:extLst>
              <a:ext uri="{FF2B5EF4-FFF2-40B4-BE49-F238E27FC236}">
                <a16:creationId xmlns:a16="http://schemas.microsoft.com/office/drawing/2014/main" id="{B9599789-9E87-284A-8157-0D1FFED295A7}"/>
              </a:ext>
            </a:extLst>
          </p:cNvPr>
          <p:cNvSpPr/>
          <p:nvPr/>
        </p:nvSpPr>
        <p:spPr>
          <a:xfrm>
            <a:off x="6512560" y="3901440"/>
            <a:ext cx="4572000" cy="2026920"/>
          </a:xfrm>
          <a:prstGeom prst="rect">
            <a:avLst/>
          </a:prstGeom>
          <a:gradFill>
            <a:gsLst>
              <a:gs pos="0">
                <a:srgbClr val="B34768">
                  <a:alpha val="90000"/>
                </a:srgbClr>
              </a:gs>
              <a:gs pos="100000">
                <a:srgbClr val="3E8E86">
                  <a:alpha val="77000"/>
                </a:srgbClr>
              </a:gs>
              <a:gs pos="50000">
                <a:srgbClr val="2B2D78">
                  <a:alpha val="81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288000" bIns="251999" rtlCol="0" anchor="ctr"/>
          <a:lstStyle/>
          <a:p>
            <a:pPr>
              <a:lnSpc>
                <a:spcPct val="150000"/>
              </a:lnSpc>
            </a:pPr>
            <a:r>
              <a:rPr lang="en-US" altLang="ko-KR" sz="2400" b="1" dirty="0">
                <a:latin typeface="+mj-lt"/>
              </a:rPr>
              <a:t>COLOR: </a:t>
            </a:r>
            <a:r>
              <a:rPr lang="en-US" altLang="ko-KR" sz="3600" b="1" dirty="0"/>
              <a:t>	</a:t>
            </a:r>
            <a:r>
              <a:rPr lang="en-US" altLang="ko-KR" sz="24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Dark </a:t>
            </a:r>
            <a:r>
              <a:rPr lang="en-US" altLang="ko-KR" sz="16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780nm)</a:t>
            </a:r>
            <a:endParaRPr lang="en-US" altLang="ko-KR" sz="3200" dirty="0"/>
          </a:p>
          <a:p>
            <a:pPr>
              <a:lnSpc>
                <a:spcPct val="150000"/>
              </a:lnSpc>
            </a:pPr>
            <a:r>
              <a:rPr lang="en-US" altLang="ko-KR" sz="2400" b="1" dirty="0">
                <a:latin typeface="+mj-lt"/>
              </a:rPr>
              <a:t>WATER%:</a:t>
            </a:r>
            <a:r>
              <a:rPr lang="en-US" altLang="ko-KR" sz="3600" b="1" dirty="0"/>
              <a:t>	</a:t>
            </a:r>
            <a:r>
              <a:rPr lang="en-US" altLang="ko-KR" sz="2400" b="1"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rPr>
              <a:t>78%</a:t>
            </a:r>
            <a:endParaRPr lang="ko-KR" altLang="en-US" sz="3600" dirty="0"/>
          </a:p>
        </p:txBody>
      </p:sp>
    </p:spTree>
    <p:extLst>
      <p:ext uri="{BB962C8B-B14F-4D97-AF65-F5344CB8AC3E}">
        <p14:creationId xmlns:p14="http://schemas.microsoft.com/office/powerpoint/2010/main" val="26377468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223A3632-5830-1145-AC27-C64DE18FD282}"/>
              </a:ext>
            </a:extLst>
          </p:cNvPr>
          <p:cNvGraphicFramePr>
            <a:graphicFrameLocks noChangeAspect="1"/>
          </p:cNvGraphicFramePr>
          <p:nvPr>
            <p:custDataLst>
              <p:tags r:id="rId2"/>
            </p:custDataLst>
            <p:extLst>
              <p:ext uri="{D42A27DB-BD31-4B8C-83A1-F6EECF244321}">
                <p14:modId xmlns:p14="http://schemas.microsoft.com/office/powerpoint/2010/main" val="12346822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34946" name="think-cell Slide" r:id="rId4" imgW="7772400" imgH="10058400" progId="TCLayout.ActiveDocument.1">
                  <p:embed/>
                </p:oleObj>
              </mc:Choice>
              <mc:Fallback>
                <p:oleObj name="think-cell Slide" r:id="rId4" imgW="7772400" imgH="10058400" progId="TCLayout.ActiveDocument.1">
                  <p:embed/>
                  <p:pic>
                    <p:nvPicPr>
                      <p:cNvPr id="0" name=""/>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4F04AA0A-718E-C44E-956C-76888E2F29F1}"/>
              </a:ext>
            </a:extLst>
          </p:cNvPr>
          <p:cNvPicPr>
            <a:picLocks noChangeAspect="1"/>
          </p:cNvPicPr>
          <p:nvPr/>
        </p:nvPicPr>
        <p:blipFill rotWithShape="1">
          <a:blip r:embed="rId6"/>
          <a:srcRect r="6020" b="4491"/>
          <a:stretch/>
        </p:blipFill>
        <p:spPr>
          <a:xfrm>
            <a:off x="3729330" y="968721"/>
            <a:ext cx="4733340" cy="4716856"/>
          </a:xfrm>
          <a:prstGeom prst="rect">
            <a:avLst/>
          </a:prstGeom>
        </p:spPr>
      </p:pic>
      <p:sp>
        <p:nvSpPr>
          <p:cNvPr id="5" name="TextBox 4">
            <a:extLst>
              <a:ext uri="{FF2B5EF4-FFF2-40B4-BE49-F238E27FC236}">
                <a16:creationId xmlns:a16="http://schemas.microsoft.com/office/drawing/2014/main" id="{09380771-5FDD-494E-B07D-08E62ADF9EB1}"/>
              </a:ext>
            </a:extLst>
          </p:cNvPr>
          <p:cNvSpPr txBox="1"/>
          <p:nvPr/>
        </p:nvSpPr>
        <p:spPr>
          <a:xfrm>
            <a:off x="8425754" y="5385302"/>
            <a:ext cx="928094" cy="307777"/>
          </a:xfrm>
          <a:prstGeom prst="rect">
            <a:avLst/>
          </a:prstGeom>
          <a:noFill/>
        </p:spPr>
        <p:txBody>
          <a:bodyPr wrap="square" rtlCol="0">
            <a:spAutoFit/>
          </a:bodyPr>
          <a:lstStyle/>
          <a:p>
            <a:r>
              <a:rPr lang="en-SA" sz="1400" dirty="0">
                <a:solidFill>
                  <a:srgbClr val="DDDDDD"/>
                </a:solidFill>
              </a:rPr>
              <a:t>700nm</a:t>
            </a:r>
          </a:p>
        </p:txBody>
      </p:sp>
      <p:sp>
        <p:nvSpPr>
          <p:cNvPr id="3" name="TextBox 2">
            <a:extLst>
              <a:ext uri="{FF2B5EF4-FFF2-40B4-BE49-F238E27FC236}">
                <a16:creationId xmlns:a16="http://schemas.microsoft.com/office/drawing/2014/main" id="{9915B148-513F-0B43-B0F5-DF9785D64881}"/>
              </a:ext>
            </a:extLst>
          </p:cNvPr>
          <p:cNvSpPr txBox="1"/>
          <p:nvPr/>
        </p:nvSpPr>
        <p:spPr>
          <a:xfrm>
            <a:off x="8425754" y="869132"/>
            <a:ext cx="928094" cy="307777"/>
          </a:xfrm>
          <a:prstGeom prst="rect">
            <a:avLst/>
          </a:prstGeom>
          <a:noFill/>
        </p:spPr>
        <p:txBody>
          <a:bodyPr wrap="square" rtlCol="0">
            <a:spAutoFit/>
          </a:bodyPr>
          <a:lstStyle/>
          <a:p>
            <a:r>
              <a:rPr lang="en-SA" sz="1400" dirty="0">
                <a:solidFill>
                  <a:srgbClr val="DDDDDD"/>
                </a:solidFill>
              </a:rPr>
              <a:t>800nm</a:t>
            </a:r>
          </a:p>
        </p:txBody>
      </p:sp>
      <p:sp>
        <p:nvSpPr>
          <p:cNvPr id="6" name="TextBox 5">
            <a:extLst>
              <a:ext uri="{FF2B5EF4-FFF2-40B4-BE49-F238E27FC236}">
                <a16:creationId xmlns:a16="http://schemas.microsoft.com/office/drawing/2014/main" id="{96E55D0F-FA13-FD47-856B-F4D801B863B1}"/>
              </a:ext>
            </a:extLst>
          </p:cNvPr>
          <p:cNvSpPr txBox="1"/>
          <p:nvPr/>
        </p:nvSpPr>
        <p:spPr>
          <a:xfrm>
            <a:off x="7846160" y="5692702"/>
            <a:ext cx="928094" cy="307777"/>
          </a:xfrm>
          <a:prstGeom prst="rect">
            <a:avLst/>
          </a:prstGeom>
          <a:noFill/>
        </p:spPr>
        <p:txBody>
          <a:bodyPr wrap="square" rtlCol="0">
            <a:spAutoFit/>
          </a:bodyPr>
          <a:lstStyle/>
          <a:p>
            <a:pPr algn="ctr"/>
            <a:r>
              <a:rPr lang="en-SA" sz="1400" dirty="0">
                <a:solidFill>
                  <a:srgbClr val="DDDDDD"/>
                </a:solidFill>
              </a:rPr>
              <a:t>80%</a:t>
            </a:r>
          </a:p>
        </p:txBody>
      </p:sp>
      <p:sp>
        <p:nvSpPr>
          <p:cNvPr id="7" name="TextBox 6">
            <a:extLst>
              <a:ext uri="{FF2B5EF4-FFF2-40B4-BE49-F238E27FC236}">
                <a16:creationId xmlns:a16="http://schemas.microsoft.com/office/drawing/2014/main" id="{3D0CD050-078D-B149-8515-CDECF31FD959}"/>
              </a:ext>
            </a:extLst>
          </p:cNvPr>
          <p:cNvSpPr txBox="1"/>
          <p:nvPr/>
        </p:nvSpPr>
        <p:spPr>
          <a:xfrm>
            <a:off x="3363422" y="5692702"/>
            <a:ext cx="928094" cy="307777"/>
          </a:xfrm>
          <a:prstGeom prst="rect">
            <a:avLst/>
          </a:prstGeom>
          <a:noFill/>
        </p:spPr>
        <p:txBody>
          <a:bodyPr wrap="square" rtlCol="0">
            <a:spAutoFit/>
          </a:bodyPr>
          <a:lstStyle/>
          <a:p>
            <a:pPr algn="ctr"/>
            <a:r>
              <a:rPr lang="en-SA" sz="1400" dirty="0">
                <a:solidFill>
                  <a:srgbClr val="DDDDDD"/>
                </a:solidFill>
              </a:rPr>
              <a:t>95%</a:t>
            </a:r>
          </a:p>
        </p:txBody>
      </p:sp>
      <p:sp>
        <p:nvSpPr>
          <p:cNvPr id="4" name="Rectangle 3">
            <a:extLst>
              <a:ext uri="{FF2B5EF4-FFF2-40B4-BE49-F238E27FC236}">
                <a16:creationId xmlns:a16="http://schemas.microsoft.com/office/drawing/2014/main" id="{B03D4D89-BEAF-684F-94DC-5ABFC7D50275}"/>
              </a:ext>
            </a:extLst>
          </p:cNvPr>
          <p:cNvSpPr/>
          <p:nvPr/>
        </p:nvSpPr>
        <p:spPr>
          <a:xfrm>
            <a:off x="3331675" y="869132"/>
            <a:ext cx="497940" cy="1041149"/>
          </a:xfrm>
          <a:prstGeom prst="rect">
            <a:avLst/>
          </a:prstGeom>
          <a:solidFill>
            <a:srgbClr val="25252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A"/>
          </a:p>
        </p:txBody>
      </p:sp>
      <p:sp>
        <p:nvSpPr>
          <p:cNvPr id="8" name="Freeform 7">
            <a:extLst>
              <a:ext uri="{FF2B5EF4-FFF2-40B4-BE49-F238E27FC236}">
                <a16:creationId xmlns:a16="http://schemas.microsoft.com/office/drawing/2014/main" id="{3C39DC4F-63A5-0847-A0B1-4B3859C877CC}"/>
              </a:ext>
            </a:extLst>
          </p:cNvPr>
          <p:cNvSpPr/>
          <p:nvPr/>
        </p:nvSpPr>
        <p:spPr>
          <a:xfrm>
            <a:off x="3974471" y="1059255"/>
            <a:ext cx="4436199" cy="4544840"/>
          </a:xfrm>
          <a:custGeom>
            <a:avLst/>
            <a:gdLst>
              <a:gd name="connsiteX0" fmla="*/ 0 w 4381878"/>
              <a:gd name="connsiteY0" fmla="*/ 0 h 4508626"/>
              <a:gd name="connsiteX1" fmla="*/ 4381878 w 4381878"/>
              <a:gd name="connsiteY1" fmla="*/ 4508626 h 4508626"/>
              <a:gd name="connsiteX0" fmla="*/ 0 w 4381878"/>
              <a:gd name="connsiteY0" fmla="*/ 0 h 4508626"/>
              <a:gd name="connsiteX1" fmla="*/ 4381878 w 4381878"/>
              <a:gd name="connsiteY1" fmla="*/ 4508626 h 4508626"/>
              <a:gd name="connsiteX0" fmla="*/ 0 w 4436199"/>
              <a:gd name="connsiteY0" fmla="*/ 0 h 4544840"/>
              <a:gd name="connsiteX1" fmla="*/ 4436199 w 4436199"/>
              <a:gd name="connsiteY1" fmla="*/ 4544840 h 4544840"/>
              <a:gd name="connsiteX0" fmla="*/ 0 w 4436199"/>
              <a:gd name="connsiteY0" fmla="*/ 0 h 4544840"/>
              <a:gd name="connsiteX1" fmla="*/ 4436199 w 4436199"/>
              <a:gd name="connsiteY1" fmla="*/ 4544840 h 4544840"/>
            </a:gdLst>
            <a:ahLst/>
            <a:cxnLst>
              <a:cxn ang="0">
                <a:pos x="connsiteX0" y="connsiteY0"/>
              </a:cxn>
              <a:cxn ang="0">
                <a:pos x="connsiteX1" y="connsiteY1"/>
              </a:cxn>
            </a:cxnLst>
            <a:rect l="l" t="t" r="r" b="b"/>
            <a:pathLst>
              <a:path w="4436199" h="4544840">
                <a:moveTo>
                  <a:pt x="0" y="0"/>
                </a:moveTo>
                <a:cubicBezTo>
                  <a:pt x="1306717" y="1575303"/>
                  <a:pt x="3002733" y="3195874"/>
                  <a:pt x="4436199" y="4544840"/>
                </a:cubicBezTo>
              </a:path>
            </a:pathLst>
          </a:cu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A"/>
          </a:p>
        </p:txBody>
      </p:sp>
      <p:sp>
        <p:nvSpPr>
          <p:cNvPr id="13" name="Freeform 12">
            <a:extLst>
              <a:ext uri="{FF2B5EF4-FFF2-40B4-BE49-F238E27FC236}">
                <a16:creationId xmlns:a16="http://schemas.microsoft.com/office/drawing/2014/main" id="{78328B46-D110-7F4F-902C-F07FE508744A}"/>
              </a:ext>
            </a:extLst>
          </p:cNvPr>
          <p:cNvSpPr/>
          <p:nvPr/>
        </p:nvSpPr>
        <p:spPr>
          <a:xfrm>
            <a:off x="3830645" y="1069974"/>
            <a:ext cx="4487856" cy="4486275"/>
          </a:xfrm>
          <a:custGeom>
            <a:avLst/>
            <a:gdLst>
              <a:gd name="connsiteX0" fmla="*/ 0 w 4487856"/>
              <a:gd name="connsiteY0" fmla="*/ 0 h 4486275"/>
              <a:gd name="connsiteX1" fmla="*/ 152863 w 4487856"/>
              <a:gd name="connsiteY1" fmla="*/ 0 h 4486275"/>
              <a:gd name="connsiteX2" fmla="*/ 393238 w 4487856"/>
              <a:gd name="connsiteY2" fmla="*/ 285103 h 4486275"/>
              <a:gd name="connsiteX3" fmla="*/ 4031441 w 4487856"/>
              <a:gd name="connsiteY3" fmla="*/ 4016146 h 4486275"/>
              <a:gd name="connsiteX4" fmla="*/ 4487856 w 4487856"/>
              <a:gd name="connsiteY4" fmla="*/ 4447095 h 4486275"/>
              <a:gd name="connsiteX5" fmla="*/ 4487856 w 4487856"/>
              <a:gd name="connsiteY5" fmla="*/ 4486275 h 4486275"/>
              <a:gd name="connsiteX6" fmla="*/ 0 w 4487856"/>
              <a:gd name="connsiteY6" fmla="*/ 4486275 h 4486275"/>
              <a:gd name="connsiteX7" fmla="*/ 0 w 4487856"/>
              <a:gd name="connsiteY7" fmla="*/ 0 h 4486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87856" h="4486275">
                <a:moveTo>
                  <a:pt x="0" y="0"/>
                </a:moveTo>
                <a:lnTo>
                  <a:pt x="152863" y="0"/>
                </a:lnTo>
                <a:lnTo>
                  <a:pt x="393238" y="285103"/>
                </a:lnTo>
                <a:cubicBezTo>
                  <a:pt x="1492416" y="1568629"/>
                  <a:pt x="2821695" y="2868964"/>
                  <a:pt x="4031441" y="4016146"/>
                </a:cubicBezTo>
                <a:lnTo>
                  <a:pt x="4487856" y="4447095"/>
                </a:lnTo>
                <a:lnTo>
                  <a:pt x="4487856" y="4486275"/>
                </a:lnTo>
                <a:lnTo>
                  <a:pt x="0" y="4486275"/>
                </a:lnTo>
                <a:lnTo>
                  <a:pt x="0" y="0"/>
                </a:lnTo>
                <a:close/>
              </a:path>
            </a:pathLst>
          </a:custGeom>
          <a:gradFill flip="none" rotWithShape="1">
            <a:gsLst>
              <a:gs pos="0">
                <a:srgbClr val="3E8E86">
                  <a:alpha val="50000"/>
                </a:srgbClr>
              </a:gs>
              <a:gs pos="100000">
                <a:srgbClr val="2B2D78">
                  <a:alpha val="40000"/>
                </a:srgbClr>
              </a:gs>
            </a:gsLst>
            <a:lin ang="189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SA"/>
          </a:p>
        </p:txBody>
      </p:sp>
      <p:sp>
        <p:nvSpPr>
          <p:cNvPr id="16" name="Freeform 15">
            <a:extLst>
              <a:ext uri="{FF2B5EF4-FFF2-40B4-BE49-F238E27FC236}">
                <a16:creationId xmlns:a16="http://schemas.microsoft.com/office/drawing/2014/main" id="{D16D394C-0474-8E40-B1B6-CF3DDAC93F05}"/>
              </a:ext>
            </a:extLst>
          </p:cNvPr>
          <p:cNvSpPr/>
          <p:nvPr/>
        </p:nvSpPr>
        <p:spPr>
          <a:xfrm>
            <a:off x="3983509" y="1066799"/>
            <a:ext cx="4334993" cy="4447095"/>
          </a:xfrm>
          <a:custGeom>
            <a:avLst/>
            <a:gdLst>
              <a:gd name="connsiteX0" fmla="*/ 0 w 4334993"/>
              <a:gd name="connsiteY0" fmla="*/ 0 h 4447095"/>
              <a:gd name="connsiteX1" fmla="*/ 1426 w 4334993"/>
              <a:gd name="connsiteY1" fmla="*/ 0 h 4447095"/>
              <a:gd name="connsiteX2" fmla="*/ 4334993 w 4334993"/>
              <a:gd name="connsiteY2" fmla="*/ 0 h 4447095"/>
              <a:gd name="connsiteX3" fmla="*/ 4334993 w 4334993"/>
              <a:gd name="connsiteY3" fmla="*/ 4439695 h 4447095"/>
              <a:gd name="connsiteX4" fmla="*/ 4334993 w 4334993"/>
              <a:gd name="connsiteY4" fmla="*/ 4447095 h 4447095"/>
              <a:gd name="connsiteX5" fmla="*/ 3878578 w 4334993"/>
              <a:gd name="connsiteY5" fmla="*/ 4016146 h 4447095"/>
              <a:gd name="connsiteX6" fmla="*/ 240375 w 4334993"/>
              <a:gd name="connsiteY6" fmla="*/ 285103 h 444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34993" h="4447095">
                <a:moveTo>
                  <a:pt x="0" y="0"/>
                </a:moveTo>
                <a:lnTo>
                  <a:pt x="1426" y="0"/>
                </a:lnTo>
                <a:lnTo>
                  <a:pt x="4334993" y="0"/>
                </a:lnTo>
                <a:lnTo>
                  <a:pt x="4334993" y="4439695"/>
                </a:lnTo>
                <a:lnTo>
                  <a:pt x="4334993" y="4447095"/>
                </a:lnTo>
                <a:lnTo>
                  <a:pt x="3878578" y="4016146"/>
                </a:lnTo>
                <a:cubicBezTo>
                  <a:pt x="2668832" y="2868964"/>
                  <a:pt x="1339553" y="1568629"/>
                  <a:pt x="240375" y="285103"/>
                </a:cubicBezTo>
                <a:close/>
              </a:path>
            </a:pathLst>
          </a:custGeom>
          <a:gradFill flip="none" rotWithShape="1">
            <a:gsLst>
              <a:gs pos="0">
                <a:srgbClr val="B34768">
                  <a:alpha val="40000"/>
                </a:srgbClr>
              </a:gs>
              <a:gs pos="100000">
                <a:srgbClr val="2B2D78">
                  <a:alpha val="40000"/>
                </a:srgbClr>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SA"/>
          </a:p>
        </p:txBody>
      </p:sp>
      <p:pic>
        <p:nvPicPr>
          <p:cNvPr id="10" name="Picture 4" descr="clear drinking glass with red liquid on brown wooden round table">
            <a:extLst>
              <a:ext uri="{FF2B5EF4-FFF2-40B4-BE49-F238E27FC236}">
                <a16:creationId xmlns:a16="http://schemas.microsoft.com/office/drawing/2014/main" id="{EAA6B770-3CBF-D644-8135-6FAD44C3868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3556" b="13556"/>
          <a:stretch/>
        </p:blipFill>
        <p:spPr bwMode="auto">
          <a:xfrm>
            <a:off x="6904578" y="1181476"/>
            <a:ext cx="1246231" cy="1362546"/>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pink liquid in clear drinking glass with green straw">
            <a:extLst>
              <a:ext uri="{FF2B5EF4-FFF2-40B4-BE49-F238E27FC236}">
                <a16:creationId xmlns:a16="http://schemas.microsoft.com/office/drawing/2014/main" id="{4F8FC621-18FC-F245-B638-3B27CB206D4F}"/>
              </a:ext>
            </a:extLst>
          </p:cNvPr>
          <p:cNvPicPr>
            <a:picLocks noChangeAspect="1" noChangeArrowheads="1"/>
          </p:cNvPicPr>
          <p:nvPr/>
        </p:nvPicPr>
        <p:blipFill rotWithShape="1">
          <a:blip r:embed="rId8">
            <a:extLst>
              <a:ext uri="{BEBA8EAE-BF5A-486C-A8C5-ECC9F3942E4B}">
                <a14:imgProps xmlns:a14="http://schemas.microsoft.com/office/drawing/2010/main">
                  <a14:imgLayer r:embed="rId9">
                    <a14:imgEffect>
                      <a14:brightnessContrast bright="41000"/>
                    </a14:imgEffect>
                  </a14:imgLayer>
                </a14:imgProps>
              </a:ext>
              <a:ext uri="{28A0092B-C50C-407E-A947-70E740481C1C}">
                <a14:useLocalDpi xmlns:a14="http://schemas.microsoft.com/office/drawing/2010/main" val="0"/>
              </a:ext>
            </a:extLst>
          </a:blip>
          <a:srcRect l="8333" t="27111" r="8333"/>
          <a:stretch/>
        </p:blipFill>
        <p:spPr bwMode="auto">
          <a:xfrm>
            <a:off x="3972886" y="3603429"/>
            <a:ext cx="1629762" cy="1781873"/>
          </a:xfrm>
          <a:prstGeom prst="rect">
            <a:avLst/>
          </a:prstGeom>
          <a:noFill/>
          <a:extLst>
            <a:ext uri="{909E8E84-426E-40DD-AFC4-6F175D3DCCD1}">
              <a14:hiddenFill xmlns:a14="http://schemas.microsoft.com/office/drawing/2010/main">
                <a:solidFill>
                  <a:srgbClr val="FFFFFF"/>
                </a:solidFill>
              </a14:hiddenFill>
            </a:ext>
          </a:extLst>
        </p:spPr>
      </p:pic>
      <p:sp>
        <p:nvSpPr>
          <p:cNvPr id="17" name="Oval 16">
            <a:extLst>
              <a:ext uri="{FF2B5EF4-FFF2-40B4-BE49-F238E27FC236}">
                <a16:creationId xmlns:a16="http://schemas.microsoft.com/office/drawing/2014/main" id="{0ED71D91-488A-0844-AF76-417980AE3ED0}"/>
              </a:ext>
            </a:extLst>
          </p:cNvPr>
          <p:cNvSpPr/>
          <p:nvPr/>
        </p:nvSpPr>
        <p:spPr>
          <a:xfrm>
            <a:off x="6192570" y="2261869"/>
            <a:ext cx="107951" cy="107951"/>
          </a:xfrm>
          <a:prstGeom prst="ellipse">
            <a:avLst/>
          </a:prstGeom>
          <a:solidFill>
            <a:schemeClr val="accent1">
              <a:lumMod val="60000"/>
              <a:lumOff val="40000"/>
            </a:schemeClr>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01484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500"/>
                                        <p:tgtEl>
                                          <p:spTgt spid="16"/>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1"/>
                                        </p:tgtEl>
                                        <p:attrNameLst>
                                          <p:attrName>style.visibility</p:attrName>
                                        </p:attrNameLst>
                                      </p:cBhvr>
                                      <p:to>
                                        <p:strVal val="visible"/>
                                      </p:to>
                                    </p:set>
                                    <p:animEffect transition="in" filter="fade">
                                      <p:cBhvr>
                                        <p:cTn id="25" dur="500"/>
                                        <p:tgtEl>
                                          <p:spTgt spid="11"/>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7"/>
                                        </p:tgtEl>
                                        <p:attrNameLst>
                                          <p:attrName>style.visibility</p:attrName>
                                        </p:attrNameLst>
                                      </p:cBhvr>
                                      <p:to>
                                        <p:strVal val="visible"/>
                                      </p:to>
                                    </p:set>
                                    <p:animEffect transition="in" filter="fade">
                                      <p:cBhvr>
                                        <p:cTn id="3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P spid="16" grpId="0" animBg="1"/>
      <p:bldP spid="17" grpId="0" animBg="1"/>
    </p:bld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6047D4-A8A4-FF42-AA00-FC329C39FFA7}"/>
              </a:ext>
            </a:extLst>
          </p:cNvPr>
          <p:cNvGraphicFramePr>
            <a:graphicFrameLocks noChangeAspect="1"/>
          </p:cNvGraphicFramePr>
          <p:nvPr>
            <p:custDataLst>
              <p:tags r:id="rId2"/>
            </p:custDataLst>
            <p:extLst>
              <p:ext uri="{D42A27DB-BD31-4B8C-83A1-F6EECF244321}">
                <p14:modId xmlns:p14="http://schemas.microsoft.com/office/powerpoint/2010/main" val="37334882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68253"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68184" name="Picture 248" descr="black and silver laptop computer beside yellow ceramic mug">
            <a:extLst>
              <a:ext uri="{FF2B5EF4-FFF2-40B4-BE49-F238E27FC236}">
                <a16:creationId xmlns:a16="http://schemas.microsoft.com/office/drawing/2014/main" id="{02744334-6C62-7D41-8173-117B17075B1E}"/>
              </a:ext>
            </a:extLst>
          </p:cNvPr>
          <p:cNvPicPr>
            <a:picLocks noChangeAspect="1" noChangeArrowheads="1"/>
          </p:cNvPicPr>
          <p:nvPr/>
        </p:nvPicPr>
        <p:blipFill rotWithShape="1">
          <a:blip r:embed="rId7">
            <a:duotone>
              <a:prstClr val="black"/>
              <a:schemeClr val="accent6">
                <a:tint val="45000"/>
                <a:satMod val="400000"/>
              </a:schemeClr>
            </a:duotone>
            <a:extLst>
              <a:ext uri="{28A0092B-C50C-407E-A947-70E740481C1C}">
                <a14:useLocalDpi xmlns:a14="http://schemas.microsoft.com/office/drawing/2010/main" val="0"/>
              </a:ext>
            </a:extLst>
          </a:blip>
          <a:srcRect t="33106" b="3636"/>
          <a:stretch/>
        </p:blipFill>
        <p:spPr bwMode="auto">
          <a:xfrm>
            <a:off x="868363" y="1825622"/>
            <a:ext cx="10485437" cy="4351338"/>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4652533" y="1301194"/>
            <a:ext cx="5913867" cy="4255612"/>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TextBox 4"/>
          <p:cNvSpPr txBox="1"/>
          <p:nvPr/>
        </p:nvSpPr>
        <p:spPr>
          <a:xfrm>
            <a:off x="6633713" y="4649942"/>
            <a:ext cx="3424233" cy="568874"/>
          </a:xfrm>
          <a:prstGeom prst="rect">
            <a:avLst/>
          </a:prstGeom>
          <a:noFill/>
        </p:spPr>
        <p:txBody>
          <a:bodyPr wrap="square" rtlCol="0">
            <a:spAutoFit/>
          </a:bodyPr>
          <a:lstStyle/>
          <a:p>
            <a:pPr algn="r">
              <a:lnSpc>
                <a:spcPct val="120000"/>
              </a:lnSpc>
            </a:pPr>
            <a:r>
              <a:rPr lang="en-US" altLang="ko-KR" sz="28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APPLICATIONS</a:t>
            </a:r>
            <a:endParaRPr lang="en-US" altLang="ko-KR" sz="28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cxnSp>
        <p:nvCxnSpPr>
          <p:cNvPr id="6" name="직선 연결선 5"/>
          <p:cNvCxnSpPr/>
          <p:nvPr/>
        </p:nvCxnSpPr>
        <p:spPr>
          <a:xfrm>
            <a:off x="8349373" y="4567393"/>
            <a:ext cx="3842627"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994409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05180B-1B6C-1F4C-9349-A10CABA0ED7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5620"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905180B-1B6C-1F4C-9349-A10CABA0ED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직사각형 3">
            <a:extLst>
              <a:ext uri="{FF2B5EF4-FFF2-40B4-BE49-F238E27FC236}">
                <a16:creationId xmlns:a16="http://schemas.microsoft.com/office/drawing/2014/main" id="{BFC26D49-78EC-9D4F-A1BC-D71E6CBD071D}"/>
              </a:ext>
            </a:extLst>
          </p:cNvPr>
          <p:cNvSpPr/>
          <p:nvPr/>
        </p:nvSpPr>
        <p:spPr>
          <a:xfrm>
            <a:off x="-1" y="2154555"/>
            <a:ext cx="4081149" cy="254889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665603" name="Picture 3" descr="black laptop computer turned on">
            <a:extLst>
              <a:ext uri="{FF2B5EF4-FFF2-40B4-BE49-F238E27FC236}">
                <a16:creationId xmlns:a16="http://schemas.microsoft.com/office/drawing/2014/main" id="{245869C5-07EC-744B-A104-D6560767D10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8735" r="18912" b="33333"/>
          <a:stretch/>
        </p:blipFill>
        <p:spPr bwMode="auto">
          <a:xfrm>
            <a:off x="4081149" y="0"/>
            <a:ext cx="8110851"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65608" name="Picture 8">
            <a:extLst>
              <a:ext uri="{FF2B5EF4-FFF2-40B4-BE49-F238E27FC236}">
                <a16:creationId xmlns:a16="http://schemas.microsoft.com/office/drawing/2014/main" id="{C2E0F1DC-ECFE-3849-9F45-A29465DA381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66600"/>
          <a:stretch/>
        </p:blipFill>
        <p:spPr bwMode="auto">
          <a:xfrm>
            <a:off x="607699" y="3108842"/>
            <a:ext cx="957149" cy="64031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E82C595C-011F-8745-9A03-1C88DB794E94}"/>
              </a:ext>
            </a:extLst>
          </p:cNvPr>
          <p:cNvPicPr>
            <a:picLocks noChangeAspect="1" noChangeArrowheads="1"/>
          </p:cNvPicPr>
          <p:nvPr/>
        </p:nvPicPr>
        <p:blipFill rotWithShape="1">
          <a:blip r:embed="rId9">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l="33400"/>
          <a:stretch/>
        </p:blipFill>
        <p:spPr bwMode="auto">
          <a:xfrm>
            <a:off x="1564849" y="3108842"/>
            <a:ext cx="1908598" cy="640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3790751"/>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905180B-1B6C-1F4C-9349-A10CABA0ED70}"/>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664602"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F905180B-1B6C-1F4C-9349-A10CABA0ED70}"/>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6" name="직사각형 3">
            <a:extLst>
              <a:ext uri="{FF2B5EF4-FFF2-40B4-BE49-F238E27FC236}">
                <a16:creationId xmlns:a16="http://schemas.microsoft.com/office/drawing/2014/main" id="{BFC26D49-78EC-9D4F-A1BC-D71E6CBD071D}"/>
              </a:ext>
            </a:extLst>
          </p:cNvPr>
          <p:cNvSpPr/>
          <p:nvPr/>
        </p:nvSpPr>
        <p:spPr>
          <a:xfrm>
            <a:off x="8697276" y="2154555"/>
            <a:ext cx="3494724" cy="254889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pic>
        <p:nvPicPr>
          <p:cNvPr id="7" name="Picture 2" descr="black laptop computer">
            <a:extLst>
              <a:ext uri="{FF2B5EF4-FFF2-40B4-BE49-F238E27FC236}">
                <a16:creationId xmlns:a16="http://schemas.microsoft.com/office/drawing/2014/main" id="{68A9EA9F-B4AD-0747-AF9E-F6930100573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r="15415"/>
          <a:stretch/>
        </p:blipFill>
        <p:spPr bwMode="auto">
          <a:xfrm>
            <a:off x="0" y="0"/>
            <a:ext cx="8697277" cy="6858000"/>
          </a:xfrm>
          <a:prstGeom prst="rect">
            <a:avLst/>
          </a:prstGeom>
          <a:noFill/>
          <a:extLst>
            <a:ext uri="{909E8E84-426E-40DD-AFC4-6F175D3DCCD1}">
              <a14:hiddenFill xmlns:a14="http://schemas.microsoft.com/office/drawing/2010/main">
                <a:solidFill>
                  <a:srgbClr val="FFFFFF"/>
                </a:solidFill>
              </a14:hiddenFill>
            </a:ext>
          </a:extLst>
        </p:spPr>
      </p:pic>
      <p:pic>
        <p:nvPicPr>
          <p:cNvPr id="664580" name="Picture 4" descr="Gmail logo and symbol, meaning, history, PNG">
            <a:extLst>
              <a:ext uri="{FF2B5EF4-FFF2-40B4-BE49-F238E27FC236}">
                <a16:creationId xmlns:a16="http://schemas.microsoft.com/office/drawing/2014/main" id="{A1CA0CA5-65E5-6544-B39A-075FBFD5128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283701" y="2690948"/>
            <a:ext cx="2321874" cy="17496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191599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658C7F7-9B22-B74C-879E-ADEABE2E3020}"/>
              </a:ext>
            </a:extLst>
          </p:cNvPr>
          <p:cNvGraphicFramePr>
            <a:graphicFrameLocks noChangeAspect="1"/>
          </p:cNvGraphicFramePr>
          <p:nvPr>
            <p:custDataLst>
              <p:tags r:id="rId2"/>
            </p:custDataLst>
            <p:extLst>
              <p:ext uri="{D42A27DB-BD31-4B8C-83A1-F6EECF244321}">
                <p14:modId xmlns:p14="http://schemas.microsoft.com/office/powerpoint/2010/main" val="184594356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70301"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70275" name="Picture 291">
            <a:extLst>
              <a:ext uri="{FF2B5EF4-FFF2-40B4-BE49-F238E27FC236}">
                <a16:creationId xmlns:a16="http://schemas.microsoft.com/office/drawing/2014/main" id="{E82EAD0D-E730-A246-9379-760E266ECE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340600" y="1957144"/>
            <a:ext cx="2794000" cy="2603500"/>
          </a:xfrm>
          <a:prstGeom prst="rect">
            <a:avLst/>
          </a:prstGeom>
          <a:noFill/>
          <a:extLst>
            <a:ext uri="{909E8E84-426E-40DD-AFC4-6F175D3DCCD1}">
              <a14:hiddenFill xmlns:a14="http://schemas.microsoft.com/office/drawing/2010/main">
                <a:solidFill>
                  <a:srgbClr val="FFFFFF"/>
                </a:solidFill>
              </a14:hiddenFill>
            </a:ext>
          </a:extLst>
        </p:spPr>
      </p:pic>
      <p:sp>
        <p:nvSpPr>
          <p:cNvPr id="6" name="직사각형 5"/>
          <p:cNvSpPr/>
          <p:nvPr/>
        </p:nvSpPr>
        <p:spPr>
          <a:xfrm>
            <a:off x="5283200" y="0"/>
            <a:ext cx="6908800" cy="6858000"/>
          </a:xfrm>
          <a:prstGeom prst="rect">
            <a:avLst/>
          </a:prstGeom>
          <a:gradFill>
            <a:gsLst>
              <a:gs pos="0">
                <a:srgbClr val="B34768">
                  <a:alpha val="40000"/>
                </a:srgbClr>
              </a:gs>
              <a:gs pos="100000">
                <a:srgbClr val="3E8E86">
                  <a:alpha val="50000"/>
                </a:srgbClr>
              </a:gs>
              <a:gs pos="50000">
                <a:srgbClr val="2B2D78">
                  <a:alpha val="4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8" name="TextBox 7"/>
          <p:cNvSpPr txBox="1"/>
          <p:nvPr/>
        </p:nvSpPr>
        <p:spPr>
          <a:xfrm>
            <a:off x="2265899" y="4268257"/>
            <a:ext cx="3840869" cy="584775"/>
          </a:xfrm>
          <a:prstGeom prst="rect">
            <a:avLst/>
          </a:prstGeom>
          <a:noFill/>
        </p:spPr>
        <p:txBody>
          <a:bodyPr wrap="square" rtlCol="0">
            <a:spAutoFit/>
          </a:bodyPr>
          <a:lstStyle/>
          <a:p>
            <a:r>
              <a:rPr lang="en-US" altLang="ko-KR" sz="32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IBM WATSON</a:t>
            </a:r>
            <a:endParaRPr lang="en-US" altLang="ko-KR" sz="32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321403174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5765850-70F0-FA43-9BC5-EF2CC18E50B6}"/>
              </a:ext>
            </a:extLst>
          </p:cNvPr>
          <p:cNvPicPr>
            <a:picLocks noChangeAspect="1"/>
          </p:cNvPicPr>
          <p:nvPr/>
        </p:nvPicPr>
        <p:blipFill>
          <a:blip r:embed="rId2"/>
          <a:stretch>
            <a:fillRect/>
          </a:stretch>
        </p:blipFill>
        <p:spPr>
          <a:xfrm>
            <a:off x="0" y="6803"/>
            <a:ext cx="12192000" cy="6844393"/>
          </a:xfrm>
          <a:prstGeom prst="rect">
            <a:avLst/>
          </a:prstGeom>
        </p:spPr>
      </p:pic>
    </p:spTree>
    <p:extLst>
      <p:ext uri="{BB962C8B-B14F-4D97-AF65-F5344CB8AC3E}">
        <p14:creationId xmlns:p14="http://schemas.microsoft.com/office/powerpoint/2010/main" val="1496902619"/>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C09CA332-7571-E846-9555-277586E1A563}"/>
              </a:ext>
            </a:extLst>
          </p:cNvPr>
          <p:cNvGraphicFramePr>
            <a:graphicFrameLocks noChangeAspect="1"/>
          </p:cNvGraphicFramePr>
          <p:nvPr>
            <p:custDataLst>
              <p:tags r:id="rId2"/>
            </p:custDataLst>
            <p:extLst>
              <p:ext uri="{D42A27DB-BD31-4B8C-83A1-F6EECF244321}">
                <p14:modId xmlns:p14="http://schemas.microsoft.com/office/powerpoint/2010/main" val="17185174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3748"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3" name="그림 개체 틀 2"/>
          <p:cNvPicPr>
            <a:picLocks noGrp="1" noChangeAspect="1"/>
          </p:cNvPicPr>
          <p:nvPr>
            <p:ph type="pic" sz="quarter" idx="15"/>
          </p:nvPr>
        </p:nvPicPr>
        <p:blipFill>
          <a:blip r:embed="rId7">
            <a:extLst>
              <a:ext uri="{BEBA8EAE-BF5A-486C-A8C5-ECC9F3942E4B}">
                <a14:imgProps xmlns:a14="http://schemas.microsoft.com/office/drawing/2010/main">
                  <a14:imgLayer r:embed="rId8">
                    <a14:imgEffect>
                      <a14:saturation sat="10000"/>
                    </a14:imgEffect>
                  </a14:imgLayer>
                </a14:imgProps>
              </a:ext>
              <a:ext uri="{28A0092B-C50C-407E-A947-70E740481C1C}">
                <a14:useLocalDpi xmlns:a14="http://schemas.microsoft.com/office/drawing/2010/main" val="0"/>
              </a:ext>
            </a:extLst>
          </a:blip>
          <a:srcRect l="18672" r="18672"/>
          <a:stretch>
            <a:fillRect/>
          </a:stretch>
        </p:blipFill>
        <p:spPr>
          <a:xfrm>
            <a:off x="0" y="0"/>
            <a:ext cx="7639665" cy="6858000"/>
          </a:xfrm>
        </p:spPr>
      </p:pic>
      <p:sp>
        <p:nvSpPr>
          <p:cNvPr id="28" name="Rectangle 27">
            <a:extLst>
              <a:ext uri="{FF2B5EF4-FFF2-40B4-BE49-F238E27FC236}">
                <a16:creationId xmlns:a16="http://schemas.microsoft.com/office/drawing/2014/main" id="{22070FC1-12C3-6E4C-96CC-320470F56E01}"/>
              </a:ext>
            </a:extLst>
          </p:cNvPr>
          <p:cNvSpPr/>
          <p:nvPr/>
        </p:nvSpPr>
        <p:spPr>
          <a:xfrm>
            <a:off x="6343048" y="0"/>
            <a:ext cx="2127184" cy="6858000"/>
          </a:xfrm>
          <a:prstGeom prst="rect">
            <a:avLst/>
          </a:prstGeom>
          <a:gradFill>
            <a:gsLst>
              <a:gs pos="0">
                <a:srgbClr val="262525">
                  <a:alpha val="0"/>
                </a:srgbClr>
              </a:gs>
              <a:gs pos="38000">
                <a:srgbClr val="262525"/>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그룹 3"/>
          <p:cNvGrpSpPr/>
          <p:nvPr/>
        </p:nvGrpSpPr>
        <p:grpSpPr>
          <a:xfrm>
            <a:off x="1548177" y="1222349"/>
            <a:ext cx="4499746" cy="4413301"/>
            <a:chOff x="1164719" y="906463"/>
            <a:chExt cx="3071285" cy="3012284"/>
          </a:xfrm>
        </p:grpSpPr>
        <p:sp>
          <p:nvSpPr>
            <p:cNvPr id="5" name="타원 4"/>
            <p:cNvSpPr/>
            <p:nvPr/>
          </p:nvSpPr>
          <p:spPr>
            <a:xfrm>
              <a:off x="1164719" y="906463"/>
              <a:ext cx="3012284" cy="3012284"/>
            </a:xfrm>
            <a:prstGeom prst="ellipse">
              <a:avLst/>
            </a:prstGeom>
            <a:gradFill>
              <a:gsLst>
                <a:gs pos="0">
                  <a:srgbClr val="B34768">
                    <a:alpha val="40000"/>
                  </a:srgbClr>
                </a:gs>
                <a:gs pos="100000">
                  <a:srgbClr val="3E8E86">
                    <a:alpha val="65000"/>
                  </a:srgbClr>
                </a:gs>
                <a:gs pos="58000">
                  <a:srgbClr val="2B2D78">
                    <a:alpha val="5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TextBox 6"/>
            <p:cNvSpPr txBox="1"/>
            <p:nvPr/>
          </p:nvSpPr>
          <p:spPr>
            <a:xfrm>
              <a:off x="2126007" y="2162090"/>
              <a:ext cx="2109997" cy="399136"/>
            </a:xfrm>
            <a:prstGeom prst="rect">
              <a:avLst/>
            </a:prstGeom>
            <a:noFill/>
          </p:spPr>
          <p:txBody>
            <a:bodyPr wrap="square" rtlCol="0">
              <a:spAutoFit/>
            </a:bodyPr>
            <a:lstStyle/>
            <a:p>
              <a:r>
                <a:rPr lang="en-US" altLang="ko-KR" sz="32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REFRENCES</a:t>
              </a:r>
            </a:p>
          </p:txBody>
        </p:sp>
      </p:grpSp>
      <p:sp>
        <p:nvSpPr>
          <p:cNvPr id="27" name="Rectangle 26">
            <a:extLst>
              <a:ext uri="{FF2B5EF4-FFF2-40B4-BE49-F238E27FC236}">
                <a16:creationId xmlns:a16="http://schemas.microsoft.com/office/drawing/2014/main" id="{7C24B3FB-BE57-F34D-9F46-AF991CFFFD24}"/>
              </a:ext>
            </a:extLst>
          </p:cNvPr>
          <p:cNvSpPr/>
          <p:nvPr/>
        </p:nvSpPr>
        <p:spPr>
          <a:xfrm>
            <a:off x="7639665" y="1096046"/>
            <a:ext cx="4072742" cy="5101397"/>
          </a:xfrm>
          <a:prstGeom prst="rect">
            <a:avLst/>
          </a:prstGeom>
        </p:spPr>
        <p:txBody>
          <a:bodyPr wrap="square">
            <a:spAutoFit/>
          </a:bodyPr>
          <a:lstStyle/>
          <a:p>
            <a:pPr marL="342900" indent="-342900">
              <a:buFont typeface="+mj-lt"/>
              <a:buAutoNum type="arabicPeriod"/>
            </a:pPr>
            <a:r>
              <a:rPr lang="en-US" sz="1050" dirty="0">
                <a:solidFill>
                  <a:schemeClr val="bg1"/>
                </a:solidFill>
              </a:rPr>
              <a:t>Arnaud, B. (2020, December 04). The 10 most common reasons why startups fail. Retrieved March 30, 2021, from</a:t>
            </a:r>
            <a:br>
              <a:rPr lang="en-US" sz="1050" dirty="0">
                <a:solidFill>
                  <a:schemeClr val="bg1"/>
                </a:solidFill>
              </a:rPr>
            </a:br>
            <a:r>
              <a:rPr lang="en-US" sz="1050" dirty="0">
                <a:solidFill>
                  <a:schemeClr val="bg1"/>
                </a:solidFill>
                <a:hlinkClick r:id="rId9"/>
              </a:rPr>
              <a:t>https://www.eu-startups.com/2018/09/the-10-most-common-reasons-why-startups-fail/</a:t>
            </a:r>
            <a:endParaRPr lang="en-US" sz="1050" dirty="0">
              <a:solidFill>
                <a:schemeClr val="bg1"/>
              </a:solidFill>
            </a:endParaRPr>
          </a:p>
          <a:p>
            <a:pPr marL="342900" indent="-342900">
              <a:buFont typeface="+mj-lt"/>
              <a:buAutoNum type="arabicPeriod"/>
            </a:pPr>
            <a:r>
              <a:rPr lang="en-US" sz="1050" dirty="0">
                <a:solidFill>
                  <a:schemeClr val="bg1"/>
                </a:solidFill>
              </a:rPr>
              <a:t>Mehta, A. (2020, July 16). How </a:t>
            </a:r>
            <a:r>
              <a:rPr lang="en-US" sz="1050" dirty="0" err="1">
                <a:solidFill>
                  <a:schemeClr val="bg1"/>
                </a:solidFill>
              </a:rPr>
              <a:t>pwas</a:t>
            </a:r>
            <a:r>
              <a:rPr lang="en-US" sz="1050" dirty="0">
                <a:solidFill>
                  <a:schemeClr val="bg1"/>
                </a:solidFill>
              </a:rPr>
              <a:t> drive business for </a:t>
            </a:r>
            <a:r>
              <a:rPr lang="en-US" sz="1050" dirty="0" err="1">
                <a:solidFill>
                  <a:schemeClr val="bg1"/>
                </a:solidFill>
              </a:rPr>
              <a:t>smes</a:t>
            </a:r>
            <a:r>
              <a:rPr lang="en-US" sz="1050" dirty="0">
                <a:solidFill>
                  <a:schemeClr val="bg1"/>
                </a:solidFill>
              </a:rPr>
              <a:t>? Retrieved March 30, 2021, from</a:t>
            </a:r>
            <a:br>
              <a:rPr lang="en-US" sz="1050" dirty="0">
                <a:solidFill>
                  <a:schemeClr val="bg1"/>
                </a:solidFill>
              </a:rPr>
            </a:br>
            <a:r>
              <a:rPr lang="en-US" sz="1050" dirty="0">
                <a:solidFill>
                  <a:schemeClr val="bg1"/>
                </a:solidFill>
                <a:hlinkClick r:id="rId10"/>
              </a:rPr>
              <a:t>https://appinventiv.com/blog/pwa-for-smes/</a:t>
            </a:r>
            <a:endParaRPr lang="en-US" sz="1050" dirty="0">
              <a:solidFill>
                <a:schemeClr val="bg1"/>
              </a:solidFill>
            </a:endParaRPr>
          </a:p>
          <a:p>
            <a:pPr marL="342900" indent="-342900">
              <a:buFont typeface="+mj-lt"/>
              <a:buAutoNum type="arabicPeriod"/>
            </a:pPr>
            <a:r>
              <a:rPr lang="en-US" sz="1050" dirty="0">
                <a:solidFill>
                  <a:schemeClr val="bg1"/>
                </a:solidFill>
              </a:rPr>
              <a:t>Why your startup won't last. (2021, February 23). Retrieved March 30, 2021, from</a:t>
            </a:r>
            <a:br>
              <a:rPr lang="en-US" sz="1050" dirty="0">
                <a:solidFill>
                  <a:schemeClr val="bg1"/>
                </a:solidFill>
              </a:rPr>
            </a:br>
            <a:r>
              <a:rPr lang="en-US" sz="1050" dirty="0">
                <a:solidFill>
                  <a:schemeClr val="bg1"/>
                </a:solidFill>
                <a:hlinkClick r:id="rId11"/>
              </a:rPr>
              <a:t>https://hbr.org/2019/12/why-your-startup-wont-last</a:t>
            </a:r>
            <a:endParaRPr lang="en-US" sz="1050" dirty="0">
              <a:solidFill>
                <a:schemeClr val="bg1"/>
              </a:solidFill>
            </a:endParaRPr>
          </a:p>
          <a:p>
            <a:pPr marL="342900" indent="-342900">
              <a:buFont typeface="+mj-lt"/>
              <a:buAutoNum type="arabicPeriod"/>
            </a:pPr>
            <a:r>
              <a:rPr lang="en-US" sz="1050" dirty="0">
                <a:solidFill>
                  <a:schemeClr val="bg1"/>
                </a:solidFill>
              </a:rPr>
              <a:t>Jones, K. (n.d.). Visualizing startup failure: Uncovering why most don't survive. Retrieved March 30, 2021, from</a:t>
            </a:r>
          </a:p>
          <a:p>
            <a:pPr marL="342900" indent="-342900">
              <a:buFont typeface="+mj-lt"/>
              <a:buAutoNum type="arabicPeriod"/>
            </a:pPr>
            <a:r>
              <a:rPr lang="en-US" sz="1050" dirty="0">
                <a:solidFill>
                  <a:schemeClr val="bg1"/>
                </a:solidFill>
                <a:hlinkClick r:id="rId12"/>
              </a:rPr>
              <a:t>https://www.frac.tl/work/marketing-research/why-startups-fail-study/</a:t>
            </a:r>
            <a:endParaRPr lang="en-US" sz="1050" dirty="0">
              <a:solidFill>
                <a:schemeClr val="bg1"/>
              </a:solidFill>
            </a:endParaRPr>
          </a:p>
          <a:p>
            <a:pPr marL="342900" indent="-342900">
              <a:buFont typeface="+mj-lt"/>
              <a:buAutoNum type="arabicPeriod"/>
            </a:pPr>
            <a:r>
              <a:rPr lang="en-US" sz="1050" dirty="0">
                <a:solidFill>
                  <a:schemeClr val="bg1"/>
                </a:solidFill>
              </a:rPr>
              <a:t>5 reasons startups fail. (2016, June 03). Retrieved March 30, 2021, from</a:t>
            </a:r>
            <a:br>
              <a:rPr lang="en-US" sz="1050" dirty="0">
                <a:solidFill>
                  <a:schemeClr val="bg1"/>
                </a:solidFill>
              </a:rPr>
            </a:br>
            <a:r>
              <a:rPr lang="en-US" sz="1050" dirty="0">
                <a:solidFill>
                  <a:schemeClr val="bg1"/>
                </a:solidFill>
                <a:hlinkClick r:id="rId13"/>
              </a:rPr>
              <a:t>https://www.forentrepreneurs.com/why-startups-fail/#:~:text=An%20incredibly%20common%20problem%20that,is%20a%20weak%20management%20team.&amp;text=Weak%20management%20teams%20make%20mistakes,ideas%20before%20and%20during%20development</a:t>
            </a:r>
            <a:r>
              <a:rPr lang="en-US" sz="1050" dirty="0">
                <a:solidFill>
                  <a:schemeClr val="bg1"/>
                </a:solidFill>
              </a:rPr>
              <a:t>.</a:t>
            </a:r>
          </a:p>
          <a:p>
            <a:pPr marL="342900" indent="-342900">
              <a:buFont typeface="+mj-lt"/>
              <a:buAutoNum type="arabicPeriod"/>
            </a:pPr>
            <a:r>
              <a:rPr lang="en-US" sz="1050" dirty="0">
                <a:solidFill>
                  <a:schemeClr val="bg1"/>
                </a:solidFill>
              </a:rPr>
              <a:t>Spotify usage and revenue Statistics (2021). (2021, March 12). Retrieved March 30, 2021, from</a:t>
            </a:r>
            <a:br>
              <a:rPr lang="en-US" sz="1050" dirty="0">
                <a:solidFill>
                  <a:schemeClr val="bg1"/>
                </a:solidFill>
              </a:rPr>
            </a:br>
            <a:r>
              <a:rPr lang="en-US" sz="1050" dirty="0">
                <a:solidFill>
                  <a:schemeClr val="bg1"/>
                </a:solidFill>
                <a:hlinkClick r:id="rId14"/>
              </a:rPr>
              <a:t>https://www.businessofapps.com/data/spotify-statistics/</a:t>
            </a:r>
            <a:endParaRPr lang="en-US" sz="1050" dirty="0">
              <a:solidFill>
                <a:schemeClr val="bg1"/>
              </a:solidFill>
            </a:endParaRPr>
          </a:p>
          <a:p>
            <a:pPr marL="342900" indent="-342900">
              <a:buFont typeface="+mj-lt"/>
              <a:buAutoNum type="arabicPeriod"/>
            </a:pPr>
            <a:r>
              <a:rPr lang="en-US" sz="1050" dirty="0">
                <a:solidFill>
                  <a:schemeClr val="bg1"/>
                </a:solidFill>
              </a:rPr>
              <a:t>Daley, S. (n.d.). 25 blockchain applications &amp; real-world use Cases disrupting the status quo. Retrieved March 30, 2021, from</a:t>
            </a:r>
            <a:br>
              <a:rPr lang="en-US" sz="1050" dirty="0">
                <a:solidFill>
                  <a:schemeClr val="bg1"/>
                </a:solidFill>
              </a:rPr>
            </a:br>
            <a:r>
              <a:rPr lang="en-US" sz="1050" dirty="0">
                <a:solidFill>
                  <a:schemeClr val="bg1"/>
                </a:solidFill>
                <a:hlinkClick r:id="rId15"/>
              </a:rPr>
              <a:t>https://builtin.com/blockchain/blockchain-applications</a:t>
            </a:r>
            <a:endParaRPr lang="en-US" sz="1050" dirty="0">
              <a:solidFill>
                <a:schemeClr val="bg1"/>
              </a:solidFill>
            </a:endParaRPr>
          </a:p>
          <a:p>
            <a:pPr marL="342900" indent="-342900">
              <a:buFont typeface="+mj-lt"/>
              <a:buAutoNum type="arabicPeriod"/>
            </a:pPr>
            <a:r>
              <a:rPr lang="en-US" sz="1050" dirty="0" err="1">
                <a:solidFill>
                  <a:schemeClr val="bg1"/>
                </a:solidFill>
              </a:rPr>
              <a:t>Sabanoglu</a:t>
            </a:r>
            <a:r>
              <a:rPr lang="en-US" sz="1050" dirty="0">
                <a:solidFill>
                  <a:schemeClr val="bg1"/>
                </a:solidFill>
              </a:rPr>
              <a:t>, T. (2020, November 30). Global online traffic &amp; sales by device 2019. Retrieved March 30, 2021, from</a:t>
            </a:r>
            <a:br>
              <a:rPr lang="en-US" sz="1050" dirty="0">
                <a:solidFill>
                  <a:schemeClr val="bg1"/>
                </a:solidFill>
              </a:rPr>
            </a:br>
            <a:r>
              <a:rPr lang="en-US" sz="1050" dirty="0">
                <a:solidFill>
                  <a:schemeClr val="bg1"/>
                </a:solidFill>
                <a:hlinkClick r:id="rId16"/>
              </a:rPr>
              <a:t>https://www.statista.com/statistics/296695/preferred-mobile-payment-service-providers-mature-markets/</a:t>
            </a:r>
            <a:endParaRPr lang="en-US" sz="1050" dirty="0">
              <a:solidFill>
                <a:schemeClr val="bg1"/>
              </a:solidFill>
            </a:endParaRPr>
          </a:p>
        </p:txBody>
      </p:sp>
    </p:spTree>
    <p:extLst>
      <p:ext uri="{BB962C8B-B14F-4D97-AF65-F5344CB8AC3E}">
        <p14:creationId xmlns:p14="http://schemas.microsoft.com/office/powerpoint/2010/main" val="4062270769"/>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F3ED3DD-6CF4-6146-8666-164DCD52CA48}"/>
              </a:ext>
            </a:extLst>
          </p:cNvPr>
          <p:cNvGraphicFramePr>
            <a:graphicFrameLocks noChangeAspect="1"/>
          </p:cNvGraphicFramePr>
          <p:nvPr>
            <p:custDataLst>
              <p:tags r:id="rId2"/>
            </p:custDataLst>
            <p:extLst>
              <p:ext uri="{D42A27DB-BD31-4B8C-83A1-F6EECF244321}">
                <p14:modId xmlns:p14="http://schemas.microsoft.com/office/powerpoint/2010/main" val="183139680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770"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04450" name="Picture 2" descr="question mark neon signage">
            <a:extLst>
              <a:ext uri="{FF2B5EF4-FFF2-40B4-BE49-F238E27FC236}">
                <a16:creationId xmlns:a16="http://schemas.microsoft.com/office/drawing/2014/main" id="{00D851DC-2DA6-C541-9BD8-6AA22B514AAA}"/>
              </a:ext>
            </a:extLst>
          </p:cNvPr>
          <p:cNvPicPr>
            <a:picLocks noChangeAspect="1" noChangeArrowheads="1"/>
          </p:cNvPicPr>
          <p:nvPr/>
        </p:nvPicPr>
        <p:blipFill rotWithShape="1">
          <a:blip r:embed="rId7">
            <a:duotone>
              <a:prstClr val="black"/>
              <a:schemeClr val="accent5">
                <a:tint val="45000"/>
                <a:satMod val="400000"/>
              </a:schemeClr>
            </a:duotone>
            <a:extLst>
              <a:ext uri="{28A0092B-C50C-407E-A947-70E740481C1C}">
                <a14:useLocalDpi xmlns:a14="http://schemas.microsoft.com/office/drawing/2010/main" val="0"/>
              </a:ext>
            </a:extLst>
          </a:blip>
          <a:srcRect l="22185" t="12328" r="23975" b="25675"/>
          <a:stretch/>
        </p:blipFill>
        <p:spPr bwMode="auto">
          <a:xfrm>
            <a:off x="5717598" y="1132113"/>
            <a:ext cx="6066185" cy="4659085"/>
          </a:xfrm>
          <a:prstGeom prst="rect">
            <a:avLst/>
          </a:prstGeom>
          <a:noFill/>
          <a:extLst>
            <a:ext uri="{909E8E84-426E-40DD-AFC4-6F175D3DCCD1}">
              <a14:hiddenFill xmlns:a14="http://schemas.microsoft.com/office/drawing/2010/main">
                <a:solidFill>
                  <a:srgbClr val="FFFFFF"/>
                </a:solidFill>
              </a14:hiddenFill>
            </a:ext>
          </a:extLst>
        </p:spPr>
      </p:pic>
      <p:sp>
        <p:nvSpPr>
          <p:cNvPr id="4" name="직사각형 3"/>
          <p:cNvSpPr/>
          <p:nvPr/>
        </p:nvSpPr>
        <p:spPr>
          <a:xfrm>
            <a:off x="5717597" y="1132114"/>
            <a:ext cx="6066186" cy="4659085"/>
          </a:xfrm>
          <a:prstGeom prst="rect">
            <a:avLst/>
          </a:prstGeom>
          <a:gradFill>
            <a:gsLst>
              <a:gs pos="0">
                <a:srgbClr val="B34768">
                  <a:alpha val="40000"/>
                </a:srgbClr>
              </a:gs>
              <a:gs pos="100000">
                <a:srgbClr val="3E8E86">
                  <a:alpha val="50000"/>
                </a:srgbClr>
              </a:gs>
              <a:gs pos="50000">
                <a:srgbClr val="2B2D78">
                  <a:alpha val="50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5" name="직사각형 4"/>
          <p:cNvSpPr/>
          <p:nvPr/>
        </p:nvSpPr>
        <p:spPr>
          <a:xfrm>
            <a:off x="408217" y="1977570"/>
            <a:ext cx="10370273" cy="2968171"/>
          </a:xfrm>
          <a:prstGeom prst="rect">
            <a:avLst/>
          </a:prstGeom>
          <a:noFill/>
          <a:ln w="63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TextBox 6"/>
          <p:cNvSpPr txBox="1"/>
          <p:nvPr/>
        </p:nvSpPr>
        <p:spPr>
          <a:xfrm>
            <a:off x="408217" y="2530631"/>
            <a:ext cx="5050970" cy="1862048"/>
          </a:xfrm>
          <a:prstGeom prst="rect">
            <a:avLst/>
          </a:prstGeom>
          <a:noFill/>
        </p:spPr>
        <p:txBody>
          <a:bodyPr wrap="square" rtlCol="0">
            <a:spAutoFit/>
          </a:bodyPr>
          <a:lstStyle/>
          <a:p>
            <a:pPr algn="ctr"/>
            <a:r>
              <a:rPr lang="en-US" altLang="ko-KR" sz="11500" spc="300" dirty="0">
                <a:ln>
                  <a:solidFill>
                    <a:schemeClr val="accent1">
                      <a:alpha val="0"/>
                    </a:schemeClr>
                  </a:solidFill>
                </a:ln>
                <a:solidFill>
                  <a:schemeClr val="bg1"/>
                </a:solidFill>
                <a:latin typeface="+mj-lt"/>
                <a:ea typeface="맑은 고딕" panose="020B0503020000020004" pitchFamily="50" charset="-127"/>
                <a:cs typeface="Calibri" panose="020F0502020204030204" pitchFamily="34" charset="0"/>
              </a:rPr>
              <a:t>Q&amp;A</a:t>
            </a:r>
            <a:endParaRPr lang="en-US" altLang="ko-KR" sz="11500" spc="300" dirty="0">
              <a:ln>
                <a:solidFill>
                  <a:schemeClr val="accent1">
                    <a:alpha val="0"/>
                  </a:schemeClr>
                </a:solidFill>
              </a:ln>
              <a:solidFill>
                <a:schemeClr val="bg1"/>
              </a:solidFill>
              <a:latin typeface="Montserrat Light" panose="00000400000000000000" pitchFamily="2" charset="0"/>
              <a:ea typeface="맑은 고딕" panose="020B0503020000020004" pitchFamily="50" charset="-127"/>
              <a:cs typeface="Calibri" panose="020F0502020204030204" pitchFamily="34" charset="0"/>
            </a:endParaRPr>
          </a:p>
        </p:txBody>
      </p:sp>
    </p:spTree>
    <p:extLst>
      <p:ext uri="{BB962C8B-B14F-4D97-AF65-F5344CB8AC3E}">
        <p14:creationId xmlns:p14="http://schemas.microsoft.com/office/powerpoint/2010/main" val="40111583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1E819-008A-9A47-BB65-71308A6F738E}"/>
              </a:ext>
            </a:extLst>
          </p:cNvPr>
          <p:cNvGraphicFramePr>
            <a:graphicFrameLocks noChangeAspect="1"/>
          </p:cNvGraphicFramePr>
          <p:nvPr>
            <p:custDataLst>
              <p:tags r:id="rId2"/>
            </p:custDataLst>
            <p:extLst>
              <p:ext uri="{D42A27DB-BD31-4B8C-83A1-F6EECF244321}">
                <p14:modId xmlns:p14="http://schemas.microsoft.com/office/powerpoint/2010/main" val="185346150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7700"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4931E819-008A-9A47-BB65-71308A6F738E}"/>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5" name="Picture Placeholder 4">
            <a:extLst>
              <a:ext uri="{FF2B5EF4-FFF2-40B4-BE49-F238E27FC236}">
                <a16:creationId xmlns:a16="http://schemas.microsoft.com/office/drawing/2014/main" id="{9F4B7529-BE94-EB4A-B254-BD24D4D0AD38}"/>
              </a:ext>
            </a:extLst>
          </p:cNvPr>
          <p:cNvPicPr>
            <a:picLocks noGrp="1" noChangeAspect="1"/>
          </p:cNvPicPr>
          <p:nvPr>
            <p:ph type="pic" sz="quarter" idx="11"/>
          </p:nvPr>
        </p:nvPicPr>
        <p:blipFill>
          <a:blip r:embed="rId7">
            <a:grayscl/>
            <a:extLst>
              <a:ext uri="{28A0092B-C50C-407E-A947-70E740481C1C}">
                <a14:useLocalDpi xmlns:a14="http://schemas.microsoft.com/office/drawing/2010/main" val="0"/>
              </a:ext>
            </a:extLst>
          </a:blip>
          <a:srcRect t="7817" b="7817"/>
          <a:stretch>
            <a:fillRect/>
          </a:stretch>
        </p:blipFill>
        <p:spPr>
          <a:xfrm>
            <a:off x="0" y="4763"/>
            <a:ext cx="12192000" cy="6858000"/>
          </a:xfrm>
        </p:spPr>
      </p:pic>
      <p:sp>
        <p:nvSpPr>
          <p:cNvPr id="6" name="직사각형 5"/>
          <p:cNvSpPr/>
          <p:nvPr/>
        </p:nvSpPr>
        <p:spPr>
          <a:xfrm>
            <a:off x="0" y="4763"/>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nvGrpSpPr>
          <p:cNvPr id="29" name="Group 28">
            <a:extLst>
              <a:ext uri="{FF2B5EF4-FFF2-40B4-BE49-F238E27FC236}">
                <a16:creationId xmlns:a16="http://schemas.microsoft.com/office/drawing/2014/main" id="{49FB2C65-980B-4A48-82FE-AEFE2B4A7083}"/>
              </a:ext>
            </a:extLst>
          </p:cNvPr>
          <p:cNvGrpSpPr/>
          <p:nvPr/>
        </p:nvGrpSpPr>
        <p:grpSpPr>
          <a:xfrm rot="16200000">
            <a:off x="2281987" y="1976042"/>
            <a:ext cx="7628028" cy="2905916"/>
            <a:chOff x="0" y="1106714"/>
            <a:chExt cx="12192000" cy="4644571"/>
          </a:xfrm>
        </p:grpSpPr>
        <p:sp>
          <p:nvSpPr>
            <p:cNvPr id="31" name="타원 30"/>
            <p:cNvSpPr/>
            <p:nvPr/>
          </p:nvSpPr>
          <p:spPr>
            <a:xfrm>
              <a:off x="4116199" y="1449199"/>
              <a:ext cx="3959602" cy="3959602"/>
            </a:xfrm>
            <a:prstGeom prst="ellipse">
              <a:avLst/>
            </a:prstGeom>
            <a:gradFill>
              <a:gsLst>
                <a:gs pos="0">
                  <a:srgbClr val="B34768">
                    <a:alpha val="50000"/>
                    <a:lumMod val="0"/>
                    <a:lumOff val="100000"/>
                  </a:srgbClr>
                </a:gs>
                <a:gs pos="100000">
                  <a:srgbClr val="3E8E86">
                    <a:alpha val="60000"/>
                    <a:lumMod val="0"/>
                    <a:lumOff val="100000"/>
                  </a:srgbClr>
                </a:gs>
                <a:gs pos="55000">
                  <a:srgbClr val="2B2D78">
                    <a:alpha val="60000"/>
                    <a:lumMod val="0"/>
                    <a:lumOff val="10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8" name="직선 연결선 47"/>
            <p:cNvCxnSpPr>
              <a:cxnSpLocks/>
            </p:cNvCxnSpPr>
            <p:nvPr/>
          </p:nvCxnSpPr>
          <p:spPr>
            <a:xfrm flipH="1">
              <a:off x="7584000" y="3424679"/>
              <a:ext cx="4608000"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sp>
          <p:nvSpPr>
            <p:cNvPr id="34" name="타원 33"/>
            <p:cNvSpPr/>
            <p:nvPr/>
          </p:nvSpPr>
          <p:spPr>
            <a:xfrm>
              <a:off x="3779755" y="1106714"/>
              <a:ext cx="4644571" cy="4644571"/>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cxnSp>
          <p:nvCxnSpPr>
            <p:cNvPr id="47" name="직선 연결선 46"/>
            <p:cNvCxnSpPr/>
            <p:nvPr/>
          </p:nvCxnSpPr>
          <p:spPr>
            <a:xfrm flipH="1">
              <a:off x="0" y="3424679"/>
              <a:ext cx="4606421" cy="0"/>
            </a:xfrm>
            <a:prstGeom prst="line">
              <a:avLst/>
            </a:prstGeom>
            <a:ln w="31750">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grpSp>
        <p:nvGrpSpPr>
          <p:cNvPr id="13" name="Google Shape;8974;p60">
            <a:extLst>
              <a:ext uri="{FF2B5EF4-FFF2-40B4-BE49-F238E27FC236}">
                <a16:creationId xmlns:a16="http://schemas.microsoft.com/office/drawing/2014/main" id="{D28432CD-2379-B544-B6CA-C4092FF8F033}"/>
              </a:ext>
            </a:extLst>
          </p:cNvPr>
          <p:cNvGrpSpPr/>
          <p:nvPr/>
        </p:nvGrpSpPr>
        <p:grpSpPr>
          <a:xfrm>
            <a:off x="416506" y="3025950"/>
            <a:ext cx="451458" cy="806100"/>
            <a:chOff x="3342275" y="2615925"/>
            <a:chExt cx="339700" cy="483150"/>
          </a:xfrm>
          <a:solidFill>
            <a:schemeClr val="bg1"/>
          </a:solidFill>
        </p:grpSpPr>
        <p:sp>
          <p:nvSpPr>
            <p:cNvPr id="14" name="Google Shape;8975;p60">
              <a:extLst>
                <a:ext uri="{FF2B5EF4-FFF2-40B4-BE49-F238E27FC236}">
                  <a16:creationId xmlns:a16="http://schemas.microsoft.com/office/drawing/2014/main" id="{4B2A548E-B7B5-5541-B3AF-E25CDE4556A9}"/>
                </a:ext>
              </a:extLst>
            </p:cNvPr>
            <p:cNvSpPr/>
            <p:nvPr/>
          </p:nvSpPr>
          <p:spPr>
            <a:xfrm>
              <a:off x="3342275" y="2615925"/>
              <a:ext cx="339700" cy="483150"/>
            </a:xfrm>
            <a:custGeom>
              <a:avLst/>
              <a:gdLst/>
              <a:ahLst/>
              <a:cxnLst/>
              <a:rect l="l" t="t" r="r" b="b"/>
              <a:pathLst>
                <a:path w="13588" h="19326" extrusionOk="0">
                  <a:moveTo>
                    <a:pt x="11891" y="1133"/>
                  </a:moveTo>
                  <a:cubicBezTo>
                    <a:pt x="12202" y="1133"/>
                    <a:pt x="12455" y="1387"/>
                    <a:pt x="12455" y="1701"/>
                  </a:cubicBezTo>
                  <a:lnTo>
                    <a:pt x="12455" y="2265"/>
                  </a:lnTo>
                  <a:lnTo>
                    <a:pt x="1132" y="2265"/>
                  </a:lnTo>
                  <a:lnTo>
                    <a:pt x="1132" y="1701"/>
                  </a:lnTo>
                  <a:cubicBezTo>
                    <a:pt x="1132" y="1387"/>
                    <a:pt x="1386" y="1133"/>
                    <a:pt x="1700" y="1133"/>
                  </a:cubicBezTo>
                  <a:close/>
                  <a:moveTo>
                    <a:pt x="12455" y="3398"/>
                  </a:moveTo>
                  <a:lnTo>
                    <a:pt x="12455" y="14796"/>
                  </a:lnTo>
                  <a:lnTo>
                    <a:pt x="1132" y="14796"/>
                  </a:lnTo>
                  <a:lnTo>
                    <a:pt x="1132" y="3398"/>
                  </a:lnTo>
                  <a:close/>
                  <a:moveTo>
                    <a:pt x="12455" y="15928"/>
                  </a:moveTo>
                  <a:lnTo>
                    <a:pt x="12455" y="17628"/>
                  </a:lnTo>
                  <a:cubicBezTo>
                    <a:pt x="12455" y="17939"/>
                    <a:pt x="12202" y="18193"/>
                    <a:pt x="11891" y="18193"/>
                  </a:cubicBezTo>
                  <a:lnTo>
                    <a:pt x="1700" y="18193"/>
                  </a:lnTo>
                  <a:cubicBezTo>
                    <a:pt x="1386" y="18193"/>
                    <a:pt x="1132" y="17939"/>
                    <a:pt x="1132" y="17628"/>
                  </a:cubicBezTo>
                  <a:lnTo>
                    <a:pt x="1132" y="15928"/>
                  </a:lnTo>
                  <a:close/>
                  <a:moveTo>
                    <a:pt x="1700" y="1"/>
                  </a:moveTo>
                  <a:cubicBezTo>
                    <a:pt x="761" y="1"/>
                    <a:pt x="0" y="762"/>
                    <a:pt x="0" y="1701"/>
                  </a:cubicBezTo>
                  <a:lnTo>
                    <a:pt x="0" y="17628"/>
                  </a:lnTo>
                  <a:cubicBezTo>
                    <a:pt x="0" y="18564"/>
                    <a:pt x="761" y="19325"/>
                    <a:pt x="1700" y="19325"/>
                  </a:cubicBezTo>
                  <a:lnTo>
                    <a:pt x="11891" y="19325"/>
                  </a:lnTo>
                  <a:cubicBezTo>
                    <a:pt x="12827" y="19325"/>
                    <a:pt x="13588" y="18564"/>
                    <a:pt x="13588" y="17628"/>
                  </a:cubicBezTo>
                  <a:lnTo>
                    <a:pt x="13588" y="1701"/>
                  </a:lnTo>
                  <a:cubicBezTo>
                    <a:pt x="13588" y="762"/>
                    <a:pt x="12827" y="1"/>
                    <a:pt x="11891"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15" name="Google Shape;8976;p60">
              <a:extLst>
                <a:ext uri="{FF2B5EF4-FFF2-40B4-BE49-F238E27FC236}">
                  <a16:creationId xmlns:a16="http://schemas.microsoft.com/office/drawing/2014/main" id="{FB2468DE-336A-5B4D-85B6-86FEF95AA275}"/>
                </a:ext>
              </a:extLst>
            </p:cNvPr>
            <p:cNvSpPr/>
            <p:nvPr/>
          </p:nvSpPr>
          <p:spPr>
            <a:xfrm>
              <a:off x="3461600" y="3030200"/>
              <a:ext cx="101025" cy="28325"/>
            </a:xfrm>
            <a:custGeom>
              <a:avLst/>
              <a:gdLst/>
              <a:ahLst/>
              <a:cxnLst/>
              <a:rect l="l" t="t" r="r" b="b"/>
              <a:pathLst>
                <a:path w="4041" h="1133" extrusionOk="0">
                  <a:moveTo>
                    <a:pt x="568" y="1"/>
                  </a:moveTo>
                  <a:cubicBezTo>
                    <a:pt x="254" y="1"/>
                    <a:pt x="1" y="251"/>
                    <a:pt x="1" y="565"/>
                  </a:cubicBezTo>
                  <a:cubicBezTo>
                    <a:pt x="1" y="879"/>
                    <a:pt x="254" y="1133"/>
                    <a:pt x="568" y="1133"/>
                  </a:cubicBezTo>
                  <a:lnTo>
                    <a:pt x="3473" y="1133"/>
                  </a:lnTo>
                  <a:cubicBezTo>
                    <a:pt x="3787" y="1133"/>
                    <a:pt x="4041" y="879"/>
                    <a:pt x="4041" y="565"/>
                  </a:cubicBezTo>
                  <a:cubicBezTo>
                    <a:pt x="4041" y="251"/>
                    <a:pt x="3787" y="1"/>
                    <a:pt x="3473" y="1"/>
                  </a:cubicBez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grpSp>
      <p:sp>
        <p:nvSpPr>
          <p:cNvPr id="16" name="Google Shape;8979;p60">
            <a:extLst>
              <a:ext uri="{FF2B5EF4-FFF2-40B4-BE49-F238E27FC236}">
                <a16:creationId xmlns:a16="http://schemas.microsoft.com/office/drawing/2014/main" id="{D8FBACE8-C5D0-DF4D-9C45-8227FE027EE1}"/>
              </a:ext>
            </a:extLst>
          </p:cNvPr>
          <p:cNvSpPr/>
          <p:nvPr/>
        </p:nvSpPr>
        <p:spPr>
          <a:xfrm>
            <a:off x="11128418" y="3051144"/>
            <a:ext cx="806100" cy="755713"/>
          </a:xfrm>
          <a:custGeom>
            <a:avLst/>
            <a:gdLst/>
            <a:ahLst/>
            <a:cxnLst/>
            <a:rect l="l" t="t" r="r" b="b"/>
            <a:pathLst>
              <a:path w="19326" h="18118" extrusionOk="0">
                <a:moveTo>
                  <a:pt x="17628" y="1133"/>
                </a:moveTo>
                <a:cubicBezTo>
                  <a:pt x="17939" y="1133"/>
                  <a:pt x="18193" y="1387"/>
                  <a:pt x="18193" y="1701"/>
                </a:cubicBezTo>
                <a:lnTo>
                  <a:pt x="18193" y="11324"/>
                </a:lnTo>
                <a:lnTo>
                  <a:pt x="1133" y="11324"/>
                </a:lnTo>
                <a:lnTo>
                  <a:pt x="1133" y="1701"/>
                </a:lnTo>
                <a:cubicBezTo>
                  <a:pt x="1133" y="1387"/>
                  <a:pt x="1387" y="1133"/>
                  <a:pt x="1701" y="1133"/>
                </a:cubicBezTo>
                <a:close/>
                <a:moveTo>
                  <a:pt x="18193" y="12456"/>
                </a:moveTo>
                <a:lnTo>
                  <a:pt x="18193" y="13024"/>
                </a:lnTo>
                <a:cubicBezTo>
                  <a:pt x="18193" y="13335"/>
                  <a:pt x="17939" y="13588"/>
                  <a:pt x="17628" y="13588"/>
                </a:cubicBezTo>
                <a:lnTo>
                  <a:pt x="1701" y="13588"/>
                </a:lnTo>
                <a:cubicBezTo>
                  <a:pt x="1387" y="13588"/>
                  <a:pt x="1133" y="13335"/>
                  <a:pt x="1133" y="13024"/>
                </a:cubicBezTo>
                <a:lnTo>
                  <a:pt x="1133" y="12456"/>
                </a:lnTo>
                <a:close/>
                <a:moveTo>
                  <a:pt x="11520" y="14720"/>
                </a:moveTo>
                <a:lnTo>
                  <a:pt x="12275" y="16985"/>
                </a:lnTo>
                <a:lnTo>
                  <a:pt x="7051" y="16985"/>
                </a:lnTo>
                <a:lnTo>
                  <a:pt x="7806" y="14720"/>
                </a:lnTo>
                <a:close/>
                <a:moveTo>
                  <a:pt x="1701" y="1"/>
                </a:moveTo>
                <a:cubicBezTo>
                  <a:pt x="762" y="1"/>
                  <a:pt x="1" y="762"/>
                  <a:pt x="1" y="1701"/>
                </a:cubicBezTo>
                <a:lnTo>
                  <a:pt x="1" y="13024"/>
                </a:lnTo>
                <a:cubicBezTo>
                  <a:pt x="1" y="13960"/>
                  <a:pt x="762" y="14720"/>
                  <a:pt x="1701" y="14720"/>
                </a:cubicBezTo>
                <a:lnTo>
                  <a:pt x="6614" y="14720"/>
                </a:lnTo>
                <a:lnTo>
                  <a:pt x="5859" y="16985"/>
                </a:lnTo>
                <a:lnTo>
                  <a:pt x="4002" y="16985"/>
                </a:lnTo>
                <a:cubicBezTo>
                  <a:pt x="3688" y="16985"/>
                  <a:pt x="3437" y="17239"/>
                  <a:pt x="3437" y="17553"/>
                </a:cubicBezTo>
                <a:cubicBezTo>
                  <a:pt x="3437" y="17864"/>
                  <a:pt x="3688" y="18117"/>
                  <a:pt x="4002" y="18117"/>
                </a:cubicBezTo>
                <a:lnTo>
                  <a:pt x="15325" y="18117"/>
                </a:lnTo>
                <a:cubicBezTo>
                  <a:pt x="15639" y="18117"/>
                  <a:pt x="15889" y="17864"/>
                  <a:pt x="15889" y="17553"/>
                </a:cubicBezTo>
                <a:cubicBezTo>
                  <a:pt x="15889" y="17239"/>
                  <a:pt x="15639" y="16985"/>
                  <a:pt x="15325" y="16985"/>
                </a:cubicBezTo>
                <a:lnTo>
                  <a:pt x="13468" y="16985"/>
                </a:lnTo>
                <a:lnTo>
                  <a:pt x="12713" y="14720"/>
                </a:lnTo>
                <a:lnTo>
                  <a:pt x="17628" y="14720"/>
                </a:lnTo>
                <a:cubicBezTo>
                  <a:pt x="18565" y="14720"/>
                  <a:pt x="19325" y="13960"/>
                  <a:pt x="19325" y="13024"/>
                </a:cubicBezTo>
                <a:lnTo>
                  <a:pt x="19325" y="1701"/>
                </a:lnTo>
                <a:cubicBezTo>
                  <a:pt x="19325" y="762"/>
                  <a:pt x="18565" y="1"/>
                  <a:pt x="17628" y="1"/>
                </a:cubicBez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solidFill>
                <a:srgbClr val="435D74"/>
              </a:solidFill>
            </a:endParaRPr>
          </a:p>
        </p:txBody>
      </p:sp>
      <p:sp>
        <p:nvSpPr>
          <p:cNvPr id="3" name="Rectangle 2">
            <a:extLst>
              <a:ext uri="{FF2B5EF4-FFF2-40B4-BE49-F238E27FC236}">
                <a16:creationId xmlns:a16="http://schemas.microsoft.com/office/drawing/2014/main" id="{C7D7CCD5-12F3-0341-8978-48B97812C760}"/>
              </a:ext>
            </a:extLst>
          </p:cNvPr>
          <p:cNvSpPr/>
          <p:nvPr/>
        </p:nvSpPr>
        <p:spPr>
          <a:xfrm>
            <a:off x="-437322" y="1719470"/>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C0448AA-3D17-C148-AA93-7A7D3595E05B}"/>
              </a:ext>
            </a:extLst>
          </p:cNvPr>
          <p:cNvSpPr/>
          <p:nvPr/>
        </p:nvSpPr>
        <p:spPr>
          <a:xfrm>
            <a:off x="10863647" y="1724232"/>
            <a:ext cx="1802296" cy="3419061"/>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1251" name="Picture 3">
            <a:extLst>
              <a:ext uri="{FF2B5EF4-FFF2-40B4-BE49-F238E27FC236}">
                <a16:creationId xmlns:a16="http://schemas.microsoft.com/office/drawing/2014/main" id="{D8816BFA-21D5-5749-94A9-75FCBC688ED7}"/>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03785" y="295012"/>
            <a:ext cx="449792" cy="8164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AC91C676-1A09-3840-8782-19FAAF1E8A21}"/>
              </a:ext>
            </a:extLst>
          </p:cNvPr>
          <p:cNvGrpSpPr/>
          <p:nvPr/>
        </p:nvGrpSpPr>
        <p:grpSpPr>
          <a:xfrm>
            <a:off x="4713542" y="429779"/>
            <a:ext cx="2764916" cy="523220"/>
            <a:chOff x="4643042" y="788187"/>
            <a:chExt cx="2764916" cy="523220"/>
          </a:xfrm>
        </p:grpSpPr>
        <p:sp>
          <p:nvSpPr>
            <p:cNvPr id="2" name="TextBox 1">
              <a:extLst>
                <a:ext uri="{FF2B5EF4-FFF2-40B4-BE49-F238E27FC236}">
                  <a16:creationId xmlns:a16="http://schemas.microsoft.com/office/drawing/2014/main" id="{8F393196-8381-6F4F-A52D-46371AC56431}"/>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15%</a:t>
              </a:r>
            </a:p>
          </p:txBody>
        </p:sp>
        <p:sp>
          <p:nvSpPr>
            <p:cNvPr id="18" name="TextBox 17">
              <a:extLst>
                <a:ext uri="{FF2B5EF4-FFF2-40B4-BE49-F238E27FC236}">
                  <a16:creationId xmlns:a16="http://schemas.microsoft.com/office/drawing/2014/main" id="{A803D08E-A871-6345-8CDA-C60893857B8A}"/>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10%</a:t>
              </a:r>
            </a:p>
          </p:txBody>
        </p:sp>
      </p:grpSp>
      <p:pic>
        <p:nvPicPr>
          <p:cNvPr id="183300" name="Picture 4" descr="Amazon logo PNG">
            <a:extLst>
              <a:ext uri="{FF2B5EF4-FFF2-40B4-BE49-F238E27FC236}">
                <a16:creationId xmlns:a16="http://schemas.microsoft.com/office/drawing/2014/main" id="{3F290175-8B9D-6A45-9BCC-DCDC55D2E4A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03785" y="1414002"/>
            <a:ext cx="1848832" cy="558261"/>
          </a:xfrm>
          <a:prstGeom prst="rect">
            <a:avLst/>
          </a:prstGeom>
          <a:noFill/>
          <a:extLst>
            <a:ext uri="{909E8E84-426E-40DD-AFC4-6F175D3DCCD1}">
              <a14:hiddenFill xmlns:a14="http://schemas.microsoft.com/office/drawing/2010/main">
                <a:solidFill>
                  <a:srgbClr val="FFFFFF"/>
                </a:solidFill>
              </a14:hiddenFill>
            </a:ext>
          </a:extLst>
        </p:spPr>
      </p:pic>
      <p:grpSp>
        <p:nvGrpSpPr>
          <p:cNvPr id="21" name="Group 20">
            <a:extLst>
              <a:ext uri="{FF2B5EF4-FFF2-40B4-BE49-F238E27FC236}">
                <a16:creationId xmlns:a16="http://schemas.microsoft.com/office/drawing/2014/main" id="{942A7A44-E231-9842-BAAE-63302C656209}"/>
              </a:ext>
            </a:extLst>
          </p:cNvPr>
          <p:cNvGrpSpPr/>
          <p:nvPr/>
        </p:nvGrpSpPr>
        <p:grpSpPr>
          <a:xfrm>
            <a:off x="4713542" y="1330402"/>
            <a:ext cx="2764916" cy="523220"/>
            <a:chOff x="4643042" y="788187"/>
            <a:chExt cx="2764916" cy="523220"/>
          </a:xfrm>
        </p:grpSpPr>
        <p:sp>
          <p:nvSpPr>
            <p:cNvPr id="22" name="TextBox 21">
              <a:extLst>
                <a:ext uri="{FF2B5EF4-FFF2-40B4-BE49-F238E27FC236}">
                  <a16:creationId xmlns:a16="http://schemas.microsoft.com/office/drawing/2014/main" id="{9A1AB9BF-57F8-764D-AA7C-64B79538EBFC}"/>
                </a:ext>
              </a:extLst>
            </p:cNvPr>
            <p:cNvSpPr txBox="1"/>
            <p:nvPr/>
          </p:nvSpPr>
          <p:spPr>
            <a:xfrm>
              <a:off x="6353497" y="788187"/>
              <a:ext cx="1054461" cy="523220"/>
            </a:xfrm>
            <a:prstGeom prst="rect">
              <a:avLst/>
            </a:prstGeom>
            <a:noFill/>
          </p:spPr>
          <p:txBody>
            <a:bodyPr wrap="square" rtlCol="0">
              <a:spAutoFit/>
            </a:bodyPr>
            <a:lstStyle/>
            <a:p>
              <a:pPr algn="ctr"/>
              <a:r>
                <a:rPr lang="en-US" sz="2800" dirty="0">
                  <a:solidFill>
                    <a:schemeClr val="bg1"/>
                  </a:solidFill>
                </a:rPr>
                <a:t>65%</a:t>
              </a:r>
            </a:p>
          </p:txBody>
        </p:sp>
        <p:sp>
          <p:nvSpPr>
            <p:cNvPr id="23" name="TextBox 22">
              <a:extLst>
                <a:ext uri="{FF2B5EF4-FFF2-40B4-BE49-F238E27FC236}">
                  <a16:creationId xmlns:a16="http://schemas.microsoft.com/office/drawing/2014/main" id="{054A8D44-6006-A949-9ED4-056275035A0C}"/>
                </a:ext>
              </a:extLst>
            </p:cNvPr>
            <p:cNvSpPr txBox="1"/>
            <p:nvPr/>
          </p:nvSpPr>
          <p:spPr>
            <a:xfrm>
              <a:off x="4643042" y="788187"/>
              <a:ext cx="1054461" cy="523220"/>
            </a:xfrm>
            <a:prstGeom prst="rect">
              <a:avLst/>
            </a:prstGeom>
            <a:noFill/>
          </p:spPr>
          <p:txBody>
            <a:bodyPr wrap="square" rtlCol="0">
              <a:spAutoFit/>
            </a:bodyPr>
            <a:lstStyle/>
            <a:p>
              <a:pPr algn="ctr"/>
              <a:r>
                <a:rPr lang="en-US" sz="2800" dirty="0">
                  <a:solidFill>
                    <a:schemeClr val="bg1"/>
                  </a:solidFill>
                </a:rPr>
                <a:t>30%</a:t>
              </a:r>
            </a:p>
          </p:txBody>
        </p:sp>
      </p:grpSp>
      <p:sp>
        <p:nvSpPr>
          <p:cNvPr id="24" name="Rectangle 23">
            <a:extLst>
              <a:ext uri="{FF2B5EF4-FFF2-40B4-BE49-F238E27FC236}">
                <a16:creationId xmlns:a16="http://schemas.microsoft.com/office/drawing/2014/main" id="{0FD3E3A7-F0D0-0B47-8992-17EB300AA37D}"/>
              </a:ext>
            </a:extLst>
          </p:cNvPr>
          <p:cNvSpPr/>
          <p:nvPr/>
        </p:nvSpPr>
        <p:spPr>
          <a:xfrm>
            <a:off x="86974" y="103187"/>
            <a:ext cx="12016794" cy="6646529"/>
          </a:xfrm>
          <a:prstGeom prst="rect">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7515" name="Picture 123" descr="Spotify — Logo and Brand Assets">
            <a:extLst>
              <a:ext uri="{FF2B5EF4-FFF2-40B4-BE49-F238E27FC236}">
                <a16:creationId xmlns:a16="http://schemas.microsoft.com/office/drawing/2014/main" id="{9305922C-723B-FB4A-9813-43E3CCB3FB51}"/>
              </a:ext>
            </a:extLst>
          </p:cNvPr>
          <p:cNvPicPr>
            <a:picLocks noChangeAspect="1" noChangeArrowheads="1"/>
          </p:cNvPicPr>
          <p:nvPr/>
        </p:nvPicPr>
        <p:blipFill>
          <a:blip r:embed="rId10">
            <a:extLst>
              <a:ext uri="{BEBA8EAE-BF5A-486C-A8C5-ECC9F3942E4B}">
                <a14:imgProps xmlns:a14="http://schemas.microsoft.com/office/drawing/2010/main">
                  <a14:imgLayer r:embed="rId11">
                    <a14:imgEffect>
                      <a14:brightnessContrast bright="27000"/>
                    </a14:imgEffect>
                  </a14:imgLayer>
                </a14:imgProps>
              </a:ext>
              <a:ext uri="{28A0092B-C50C-407E-A947-70E740481C1C}">
                <a14:useLocalDpi xmlns:a14="http://schemas.microsoft.com/office/drawing/2010/main" val="0"/>
              </a:ext>
            </a:extLst>
          </a:blip>
          <a:srcRect/>
          <a:stretch>
            <a:fillRect/>
          </a:stretch>
        </p:blipFill>
        <p:spPr bwMode="auto">
          <a:xfrm>
            <a:off x="5147916" y="3142692"/>
            <a:ext cx="1890764" cy="567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549718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7515"/>
                                        </p:tgtEl>
                                        <p:attrNameLst>
                                          <p:attrName>style.visibility</p:attrName>
                                        </p:attrNameLst>
                                      </p:cBhvr>
                                      <p:to>
                                        <p:strVal val="visible"/>
                                      </p:to>
                                    </p:set>
                                    <p:animEffect transition="in" filter="fade">
                                      <p:cBhvr>
                                        <p:cTn id="7" dur="500"/>
                                        <p:tgtEl>
                                          <p:spTgt spid="1875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F317B5-E833-A345-A93C-C8BD216D5461}"/>
              </a:ext>
            </a:extLst>
          </p:cNvPr>
          <p:cNvGraphicFramePr>
            <a:graphicFrameLocks noChangeAspect="1"/>
          </p:cNvGraphicFramePr>
          <p:nvPr>
            <p:custDataLst>
              <p:tags r:id="rId2"/>
            </p:custDataLst>
            <p:extLst>
              <p:ext uri="{D42A27DB-BD31-4B8C-83A1-F6EECF244321}">
                <p14:modId xmlns:p14="http://schemas.microsoft.com/office/powerpoint/2010/main" val="513713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80539" name="think-cell Slide" r:id="rId5" imgW="7772400" imgH="10058400" progId="TCLayout.ActiveDocument.1">
                  <p:embed/>
                </p:oleObj>
              </mc:Choice>
              <mc:Fallback>
                <p:oleObj name="think-cell Slide" r:id="rId5" imgW="7772400" imgH="10058400" progId="TCLayout.ActiveDocument.1">
                  <p:embed/>
                  <p:pic>
                    <p:nvPicPr>
                      <p:cNvPr id="0" name=""/>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직사각형 3">
            <a:extLst>
              <a:ext uri="{FF2B5EF4-FFF2-40B4-BE49-F238E27FC236}">
                <a16:creationId xmlns:a16="http://schemas.microsoft.com/office/drawing/2014/main" id="{06E3D5B3-A5D9-4E49-BC05-44A4D3CBCC61}"/>
              </a:ext>
            </a:extLst>
          </p:cNvPr>
          <p:cNvSpPr/>
          <p:nvPr/>
        </p:nvSpPr>
        <p:spPr>
          <a:xfrm>
            <a:off x="0" y="0"/>
            <a:ext cx="12192000" cy="6858000"/>
          </a:xfrm>
          <a:prstGeom prst="rect">
            <a:avLst/>
          </a:prstGeom>
          <a:gradFill>
            <a:gsLst>
              <a:gs pos="0">
                <a:srgbClr val="B34768">
                  <a:alpha val="50000"/>
                </a:srgbClr>
              </a:gs>
              <a:gs pos="100000">
                <a:srgbClr val="3E8E86">
                  <a:alpha val="69804"/>
                </a:srgbClr>
              </a:gs>
              <a:gs pos="50000">
                <a:srgbClr val="2B2D78">
                  <a:alpha val="6500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7" name="TextBox 6">
            <a:extLst>
              <a:ext uri="{FF2B5EF4-FFF2-40B4-BE49-F238E27FC236}">
                <a16:creationId xmlns:a16="http://schemas.microsoft.com/office/drawing/2014/main" id="{E6794EFD-BC78-4B9A-AD71-253353239F6E}"/>
              </a:ext>
            </a:extLst>
          </p:cNvPr>
          <p:cNvSpPr txBox="1"/>
          <p:nvPr/>
        </p:nvSpPr>
        <p:spPr>
          <a:xfrm>
            <a:off x="4419600" y="2328664"/>
            <a:ext cx="3352800" cy="646331"/>
          </a:xfrm>
          <a:prstGeom prst="rect">
            <a:avLst/>
          </a:prstGeom>
          <a:noFill/>
        </p:spPr>
        <p:txBody>
          <a:bodyPr wrap="square" rtlCol="0">
            <a:spAutoFit/>
          </a:bodyPr>
          <a:lstStyle/>
          <a:p>
            <a:pPr algn="ctr"/>
            <a:r>
              <a:rPr lang="en-US" altLang="ko-KR" sz="3600" spc="300" dirty="0">
                <a:ln>
                  <a:solidFill>
                    <a:schemeClr val="accent1">
                      <a:alpha val="0"/>
                    </a:schemeClr>
                  </a:solidFill>
                </a:ln>
                <a:solidFill>
                  <a:schemeClr val="bg1"/>
                </a:solidFill>
                <a:latin typeface="Montserrat Medium" panose="00000600000000000000" pitchFamily="2" charset="0"/>
                <a:ea typeface="맑은 고딕" panose="020B0503020000020004" pitchFamily="50" charset="-127"/>
                <a:cs typeface="Calibri" panose="020F0502020204030204" pitchFamily="34" charset="0"/>
              </a:rPr>
              <a:t>THANKS</a:t>
            </a:r>
          </a:p>
        </p:txBody>
      </p:sp>
      <p:cxnSp>
        <p:nvCxnSpPr>
          <p:cNvPr id="9" name="직선 연결선 8">
            <a:extLst>
              <a:ext uri="{FF2B5EF4-FFF2-40B4-BE49-F238E27FC236}">
                <a16:creationId xmlns:a16="http://schemas.microsoft.com/office/drawing/2014/main" id="{A2726726-306A-4C5B-8E21-F7CCEC14C684}"/>
              </a:ext>
            </a:extLst>
          </p:cNvPr>
          <p:cNvCxnSpPr/>
          <p:nvPr/>
        </p:nvCxnSpPr>
        <p:spPr>
          <a:xfrm flipH="1">
            <a:off x="7772400" y="2698770"/>
            <a:ext cx="4419600"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cxnSp>
        <p:nvCxnSpPr>
          <p:cNvPr id="11" name="직선 연결선 10">
            <a:extLst>
              <a:ext uri="{FF2B5EF4-FFF2-40B4-BE49-F238E27FC236}">
                <a16:creationId xmlns:a16="http://schemas.microsoft.com/office/drawing/2014/main" id="{2648A868-0642-44DB-AFD0-96856079FE26}"/>
              </a:ext>
            </a:extLst>
          </p:cNvPr>
          <p:cNvCxnSpPr/>
          <p:nvPr/>
        </p:nvCxnSpPr>
        <p:spPr>
          <a:xfrm flipH="1">
            <a:off x="0" y="2698770"/>
            <a:ext cx="4606421" cy="0"/>
          </a:xfrm>
          <a:prstGeom prst="line">
            <a:avLst/>
          </a:prstGeom>
          <a:ln>
            <a:solidFill>
              <a:schemeClr val="bg1">
                <a:alpha val="50000"/>
              </a:schemeClr>
            </a:solidFill>
          </a:ln>
        </p:spPr>
        <p:style>
          <a:lnRef idx="1">
            <a:schemeClr val="accent1"/>
          </a:lnRef>
          <a:fillRef idx="0">
            <a:schemeClr val="accent1"/>
          </a:fillRef>
          <a:effectRef idx="0">
            <a:schemeClr val="accent1"/>
          </a:effectRef>
          <a:fontRef idx="minor">
            <a:schemeClr val="tx1"/>
          </a:fontRef>
        </p:style>
      </p:cxnSp>
      <p:grpSp>
        <p:nvGrpSpPr>
          <p:cNvPr id="19" name="그룹 18">
            <a:extLst>
              <a:ext uri="{FF2B5EF4-FFF2-40B4-BE49-F238E27FC236}">
                <a16:creationId xmlns:a16="http://schemas.microsoft.com/office/drawing/2014/main" id="{3ED9C2B4-77C8-4F2C-B595-E0E19FF9B44A}"/>
              </a:ext>
            </a:extLst>
          </p:cNvPr>
          <p:cNvGrpSpPr/>
          <p:nvPr/>
        </p:nvGrpSpPr>
        <p:grpSpPr>
          <a:xfrm>
            <a:off x="4245875" y="3568430"/>
            <a:ext cx="3700251" cy="960906"/>
            <a:chOff x="1566863" y="3870212"/>
            <a:chExt cx="3700251" cy="960906"/>
          </a:xfrm>
        </p:grpSpPr>
        <p:sp>
          <p:nvSpPr>
            <p:cNvPr id="14" name="TextBox 13">
              <a:extLst>
                <a:ext uri="{FF2B5EF4-FFF2-40B4-BE49-F238E27FC236}">
                  <a16:creationId xmlns:a16="http://schemas.microsoft.com/office/drawing/2014/main" id="{0ED4D0EA-BC75-4206-A477-C84D9CC387A1}"/>
                </a:ext>
              </a:extLst>
            </p:cNvPr>
            <p:cNvSpPr txBox="1"/>
            <p:nvPr/>
          </p:nvSpPr>
          <p:spPr>
            <a:xfrm>
              <a:off x="2005695" y="4227554"/>
              <a:ext cx="2822586" cy="246221"/>
            </a:xfrm>
            <a:prstGeom prst="rect">
              <a:avLst/>
            </a:prstGeom>
            <a:noFill/>
          </p:spPr>
          <p:txBody>
            <a:bodyPr wrap="square" rtlCol="0">
              <a:spAutoFit/>
            </a:bodyPr>
            <a:lstStyle/>
            <a:p>
              <a:pPr algn="ctr"/>
              <a:endParaRPr lang="en-US" altLang="ko-KR" sz="1000" dirty="0">
                <a:solidFill>
                  <a:schemeClr val="bg1"/>
                </a:solidFill>
              </a:endParaRPr>
            </a:p>
          </p:txBody>
        </p:sp>
        <p:sp>
          <p:nvSpPr>
            <p:cNvPr id="16" name="TextBox 15">
              <a:extLst>
                <a:ext uri="{FF2B5EF4-FFF2-40B4-BE49-F238E27FC236}">
                  <a16:creationId xmlns:a16="http://schemas.microsoft.com/office/drawing/2014/main" id="{F4817C93-1C7F-4303-955C-D8DD6E974F3A}"/>
                </a:ext>
              </a:extLst>
            </p:cNvPr>
            <p:cNvSpPr txBox="1"/>
            <p:nvPr/>
          </p:nvSpPr>
          <p:spPr>
            <a:xfrm>
              <a:off x="2005695" y="3870212"/>
              <a:ext cx="2822586" cy="246221"/>
            </a:xfrm>
            <a:prstGeom prst="rect">
              <a:avLst/>
            </a:prstGeom>
            <a:noFill/>
          </p:spPr>
          <p:txBody>
            <a:bodyPr wrap="square" rtlCol="0">
              <a:spAutoFit/>
            </a:bodyPr>
            <a:lstStyle/>
            <a:p>
              <a:pPr algn="ctr"/>
              <a:r>
                <a:rPr lang="en-US" altLang="ko-KR" sz="1000" dirty="0">
                  <a:solidFill>
                    <a:schemeClr val="bg1"/>
                  </a:solidFill>
                </a:rPr>
                <a:t>Muhammad </a:t>
              </a:r>
              <a:r>
                <a:rPr lang="en-US" altLang="ko-KR" sz="1000" dirty="0" err="1">
                  <a:solidFill>
                    <a:schemeClr val="bg1"/>
                  </a:solidFill>
                </a:rPr>
                <a:t>Aljaali</a:t>
              </a:r>
              <a:endParaRPr lang="en-US" altLang="ko-KR" sz="1000" dirty="0">
                <a:solidFill>
                  <a:schemeClr val="bg1"/>
                </a:solidFill>
              </a:endParaRPr>
            </a:p>
          </p:txBody>
        </p:sp>
        <p:sp>
          <p:nvSpPr>
            <p:cNvPr id="18" name="TextBox 17">
              <a:extLst>
                <a:ext uri="{FF2B5EF4-FFF2-40B4-BE49-F238E27FC236}">
                  <a16:creationId xmlns:a16="http://schemas.microsoft.com/office/drawing/2014/main" id="{361DD657-1C55-4DCD-B4FD-E0DC4D9B977E}"/>
                </a:ext>
              </a:extLst>
            </p:cNvPr>
            <p:cNvSpPr txBox="1"/>
            <p:nvPr/>
          </p:nvSpPr>
          <p:spPr>
            <a:xfrm>
              <a:off x="1566863" y="4584897"/>
              <a:ext cx="3700251" cy="246221"/>
            </a:xfrm>
            <a:prstGeom prst="rect">
              <a:avLst/>
            </a:prstGeom>
            <a:noFill/>
          </p:spPr>
          <p:txBody>
            <a:bodyPr wrap="square" rtlCol="0">
              <a:spAutoFit/>
            </a:bodyPr>
            <a:lstStyle/>
            <a:p>
              <a:pPr algn="ctr"/>
              <a:endParaRPr lang="en-US" altLang="ko-KR" sz="1000" dirty="0">
                <a:solidFill>
                  <a:schemeClr val="bg1"/>
                </a:solidFill>
              </a:endParaRPr>
            </a:p>
          </p:txBody>
        </p:sp>
      </p:grpSp>
      <p:sp>
        <p:nvSpPr>
          <p:cNvPr id="23" name="자유형: 도형 22">
            <a:extLst>
              <a:ext uri="{FF2B5EF4-FFF2-40B4-BE49-F238E27FC236}">
                <a16:creationId xmlns:a16="http://schemas.microsoft.com/office/drawing/2014/main" id="{63A15640-1D85-47C2-B53D-64984BD4582D}"/>
              </a:ext>
            </a:extLst>
          </p:cNvPr>
          <p:cNvSpPr/>
          <p:nvPr/>
        </p:nvSpPr>
        <p:spPr>
          <a:xfrm>
            <a:off x="3470781" y="0"/>
            <a:ext cx="5320576" cy="1587226"/>
          </a:xfrm>
          <a:custGeom>
            <a:avLst/>
            <a:gdLst>
              <a:gd name="connsiteX0" fmla="*/ 0 w 5320576"/>
              <a:gd name="connsiteY0" fmla="*/ 0 h 1587226"/>
              <a:gd name="connsiteX1" fmla="*/ 5320576 w 5320576"/>
              <a:gd name="connsiteY1" fmla="*/ 0 h 1587226"/>
              <a:gd name="connsiteX2" fmla="*/ 5317950 w 5320576"/>
              <a:gd name="connsiteY2" fmla="*/ 5452 h 1587226"/>
              <a:gd name="connsiteX3" fmla="*/ 2660288 w 5320576"/>
              <a:gd name="connsiteY3" fmla="*/ 1587226 h 1587226"/>
              <a:gd name="connsiteX4" fmla="*/ 2627 w 5320576"/>
              <a:gd name="connsiteY4" fmla="*/ 5452 h 1587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576" h="1587226">
                <a:moveTo>
                  <a:pt x="0" y="0"/>
                </a:moveTo>
                <a:lnTo>
                  <a:pt x="5320576" y="0"/>
                </a:lnTo>
                <a:lnTo>
                  <a:pt x="5317950" y="5452"/>
                </a:lnTo>
                <a:cubicBezTo>
                  <a:pt x="4806129" y="947628"/>
                  <a:pt x="3807902" y="1587226"/>
                  <a:pt x="2660288" y="1587226"/>
                </a:cubicBezTo>
                <a:cubicBezTo>
                  <a:pt x="1512675" y="1587226"/>
                  <a:pt x="514447" y="947628"/>
                  <a:pt x="2627" y="5452"/>
                </a:cubicBezTo>
                <a:close/>
              </a:path>
            </a:pathLst>
          </a:custGeom>
          <a:gradFill>
            <a:gsLst>
              <a:gs pos="100000">
                <a:srgbClr val="3E8E86">
                  <a:alpha val="60000"/>
                </a:srgbClr>
              </a:gs>
              <a:gs pos="0">
                <a:srgbClr val="2B2D78">
                  <a:alpha val="6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4" name="자유형: 도형 23">
            <a:extLst>
              <a:ext uri="{FF2B5EF4-FFF2-40B4-BE49-F238E27FC236}">
                <a16:creationId xmlns:a16="http://schemas.microsoft.com/office/drawing/2014/main" id="{BC547C7C-AB78-400A-A014-2B3022E93EBE}"/>
              </a:ext>
            </a:extLst>
          </p:cNvPr>
          <p:cNvSpPr/>
          <p:nvPr/>
        </p:nvSpPr>
        <p:spPr>
          <a:xfrm rot="10800000">
            <a:off x="3470781" y="5270774"/>
            <a:ext cx="5320576" cy="1587226"/>
          </a:xfrm>
          <a:custGeom>
            <a:avLst/>
            <a:gdLst>
              <a:gd name="connsiteX0" fmla="*/ 0 w 5320576"/>
              <a:gd name="connsiteY0" fmla="*/ 0 h 1587226"/>
              <a:gd name="connsiteX1" fmla="*/ 5320576 w 5320576"/>
              <a:gd name="connsiteY1" fmla="*/ 0 h 1587226"/>
              <a:gd name="connsiteX2" fmla="*/ 5317950 w 5320576"/>
              <a:gd name="connsiteY2" fmla="*/ 5452 h 1587226"/>
              <a:gd name="connsiteX3" fmla="*/ 2660288 w 5320576"/>
              <a:gd name="connsiteY3" fmla="*/ 1587226 h 1587226"/>
              <a:gd name="connsiteX4" fmla="*/ 2627 w 5320576"/>
              <a:gd name="connsiteY4" fmla="*/ 5452 h 1587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20576" h="1587226">
                <a:moveTo>
                  <a:pt x="0" y="0"/>
                </a:moveTo>
                <a:lnTo>
                  <a:pt x="5320576" y="0"/>
                </a:lnTo>
                <a:lnTo>
                  <a:pt x="5317950" y="5452"/>
                </a:lnTo>
                <a:cubicBezTo>
                  <a:pt x="4806129" y="947628"/>
                  <a:pt x="3807902" y="1587226"/>
                  <a:pt x="2660288" y="1587226"/>
                </a:cubicBezTo>
                <a:cubicBezTo>
                  <a:pt x="1512675" y="1587226"/>
                  <a:pt x="514447" y="947628"/>
                  <a:pt x="2627" y="5452"/>
                </a:cubicBezTo>
                <a:close/>
              </a:path>
            </a:pathLst>
          </a:custGeom>
          <a:gradFill>
            <a:gsLst>
              <a:gs pos="0">
                <a:srgbClr val="B34768">
                  <a:alpha val="50000"/>
                </a:srgbClr>
              </a:gs>
              <a:gs pos="100000">
                <a:srgbClr val="2B2D78">
                  <a:alpha val="60000"/>
                </a:srgb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spTree>
    <p:extLst>
      <p:ext uri="{BB962C8B-B14F-4D97-AF65-F5344CB8AC3E}">
        <p14:creationId xmlns:p14="http://schemas.microsoft.com/office/powerpoint/2010/main" val="5181517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테마">
  <a:themeElements>
    <a:clrScheme name="사용자 지정 36">
      <a:dk1>
        <a:srgbClr val="25252B"/>
      </a:dk1>
      <a:lt1>
        <a:sysClr val="window" lastClr="FFFFFF"/>
      </a:lt1>
      <a:dk2>
        <a:srgbClr val="FFFFFF"/>
      </a:dk2>
      <a:lt2>
        <a:srgbClr val="262626"/>
      </a:lt2>
      <a:accent1>
        <a:srgbClr val="3E8E86"/>
      </a:accent1>
      <a:accent2>
        <a:srgbClr val="2B2D78"/>
      </a:accent2>
      <a:accent3>
        <a:srgbClr val="B34768"/>
      </a:accent3>
      <a:accent4>
        <a:srgbClr val="000000"/>
      </a:accent4>
      <a:accent5>
        <a:srgbClr val="262626"/>
      </a:accent5>
      <a:accent6>
        <a:srgbClr val="262626"/>
      </a:accent6>
      <a:hlink>
        <a:srgbClr val="0563C1"/>
      </a:hlink>
      <a:folHlink>
        <a:srgbClr val="954F72"/>
      </a:folHlink>
    </a:clrScheme>
    <a:fontScheme name="사용자 지정 9">
      <a:majorFont>
        <a:latin typeface="Montserrat Medium"/>
        <a:ea typeface="맑은 고딕"/>
        <a:cs typeface=""/>
      </a:majorFont>
      <a:minorFont>
        <a:latin typeface="Calibri"/>
        <a:ea typeface="맑은 고딕"/>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18</TotalTime>
  <Words>2166</Words>
  <Application>Microsoft Macintosh PowerPoint</Application>
  <PresentationFormat>Widescreen</PresentationFormat>
  <Paragraphs>614</Paragraphs>
  <Slides>90</Slides>
  <Notes>8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90</vt:i4>
      </vt:variant>
    </vt:vector>
  </HeadingPairs>
  <TitlesOfParts>
    <vt:vector size="99" baseType="lpstr">
      <vt:lpstr>Dubai</vt:lpstr>
      <vt:lpstr>Georgia</vt:lpstr>
      <vt:lpstr>Montserrat Light</vt:lpstr>
      <vt:lpstr>Montserrat Medium</vt:lpstr>
      <vt:lpstr>Calibri</vt:lpstr>
      <vt:lpstr>Arial</vt:lpstr>
      <vt:lpstr>맑은 고딕</vt:lpstr>
      <vt:lpstr>Office 테마</vt:lpstr>
      <vt:lpstr>think-cell Slide</vt:lpstr>
      <vt:lpstr>FAILURE BY MINDSET</vt:lpstr>
      <vt:lpstr>PowerPoint Presentation</vt:lpstr>
      <vt:lpstr>SUCCESS BY MINDSET</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OBILE TRAFFIC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LEMENTS TO UX</vt:lpstr>
      <vt:lpstr>5 STEPS PROCESS</vt:lpstr>
      <vt:lpstr>PowerPoint Presentation</vt:lpstr>
      <vt:lpstr>PowerPoint Presentation</vt:lpstr>
      <vt:lpstr>5 STEPS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 STEPS PROCESS</vt:lpstr>
      <vt:lpstr>ENABLMENT ADVANTAGES</vt:lpstr>
      <vt:lpstr>TRADEOFFS</vt:lpstr>
      <vt:lpstr>COMPARION TABLE</vt:lpstr>
      <vt:lpstr>OPTIMAZATIONS</vt:lpstr>
      <vt:lpstr>PowerPoint Presentation</vt:lpstr>
      <vt:lpstr>PowerPoint Presentation</vt:lpstr>
      <vt:lpstr>PowerPoint Presentation</vt:lpstr>
      <vt:lpstr>PowerPoint Presentation</vt:lpstr>
      <vt:lpstr>PowerPoint Presentation</vt:lpstr>
      <vt:lpstr>PowerPoint Presentation</vt:lpstr>
      <vt:lpstr>CHAIN</vt:lpstr>
      <vt:lpstr>CHAIN</vt:lpstr>
      <vt:lpstr>CHAI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KFUP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elligent Technologies</dc:title>
  <dc:subject>Blosom Acc Workshop Presentation</dc:subject>
  <dc:creator>Muhammad Aljaali</dc:creator>
  <cp:keywords>PWA, Blockchain, AI, ML, Startups</cp:keywords>
  <dc:description/>
  <cp:lastModifiedBy>MUHAMMAD ALWALEED AHMED ALJAALI</cp:lastModifiedBy>
  <cp:revision>428</cp:revision>
  <dcterms:created xsi:type="dcterms:W3CDTF">2020-01-31T06:42:14Z</dcterms:created>
  <dcterms:modified xsi:type="dcterms:W3CDTF">2021-10-03T18:35:43Z</dcterms:modified>
  <cp:category/>
</cp:coreProperties>
</file>